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421" r:id="rId2"/>
    <p:sldId id="422" r:id="rId3"/>
    <p:sldId id="483" r:id="rId4"/>
    <p:sldId id="482" r:id="rId5"/>
    <p:sldId id="261" r:id="rId6"/>
    <p:sldId id="560" r:id="rId7"/>
    <p:sldId id="5662" r:id="rId8"/>
    <p:sldId id="5663" r:id="rId9"/>
    <p:sldId id="488" r:id="rId10"/>
    <p:sldId id="5664" r:id="rId11"/>
    <p:sldId id="5666" r:id="rId12"/>
    <p:sldId id="313" r:id="rId13"/>
    <p:sldId id="5670" r:id="rId14"/>
    <p:sldId id="5665" r:id="rId15"/>
    <p:sldId id="5671" r:id="rId16"/>
    <p:sldId id="5669" r:id="rId17"/>
    <p:sldId id="5668" r:id="rId18"/>
  </p:sldIdLst>
  <p:sldSz cx="12192000" cy="6858000"/>
  <p:notesSz cx="6889750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00" autoAdjust="0"/>
    <p:restoredTop sz="94660"/>
  </p:normalViewPr>
  <p:slideViewPr>
    <p:cSldViewPr snapToGrid="0">
      <p:cViewPr varScale="1">
        <p:scale>
          <a:sx n="90" d="100"/>
          <a:sy n="90" d="100"/>
        </p:scale>
        <p:origin x="10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9275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1962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46366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</p:spPr>
        <p:txBody>
          <a:bodyPr/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2694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587" y="0"/>
            <a:ext cx="6096000" cy="49879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762327" y="1412875"/>
            <a:ext cx="4670424" cy="119735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762750" y="2724666"/>
            <a:ext cx="4670425" cy="276808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06818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52058D-C72C-314B-9146-CB4A74548DE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Proxima Nova Rg" panose="02000506030000020004" pitchFamily="50" charset="0"/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372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DD5F916-E5AC-E948-96D5-624808A40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3EFF71-5F97-D74C-AC41-3CEA45F53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762" y="3111336"/>
            <a:ext cx="10309872" cy="1733796"/>
          </a:xfrm>
        </p:spPr>
        <p:txBody>
          <a:bodyPr anchor="t">
            <a:norm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4400" b="1" kern="1200" dirty="0">
                <a:solidFill>
                  <a:schemeClr val="bg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924171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4A14AA4-A835-6247-A7B2-13AE3501D566}"/>
              </a:ext>
            </a:extLst>
          </p:cNvPr>
          <p:cNvGrpSpPr/>
          <p:nvPr userDrawn="1"/>
        </p:nvGrpSpPr>
        <p:grpSpPr>
          <a:xfrm>
            <a:off x="4535803" y="1525201"/>
            <a:ext cx="3134568" cy="1542290"/>
            <a:chOff x="4471256" y="1192048"/>
            <a:chExt cx="3134568" cy="1542290"/>
          </a:xfrm>
        </p:grpSpPr>
        <p:sp>
          <p:nvSpPr>
            <p:cNvPr id="4" name="Заголовок 1">
              <a:extLst>
                <a:ext uri="{FF2B5EF4-FFF2-40B4-BE49-F238E27FC236}">
                  <a16:creationId xmlns:a16="http://schemas.microsoft.com/office/drawing/2014/main" id="{1DD02062-42AB-EE43-A759-DB157E2FD029}"/>
                </a:ext>
              </a:extLst>
            </p:cNvPr>
            <p:cNvSpPr txBox="1">
              <a:spLocks/>
            </p:cNvSpPr>
            <p:nvPr/>
          </p:nvSpPr>
          <p:spPr>
            <a:xfrm>
              <a:off x="4471256" y="2075483"/>
              <a:ext cx="3134568" cy="65885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ru-RU" sz="2400" b="1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ЧАСТЬ</a:t>
              </a:r>
            </a:p>
          </p:txBody>
        </p:sp>
        <p:sp>
          <p:nvSpPr>
            <p:cNvPr id="5" name="Заголовок 1">
              <a:extLst>
                <a:ext uri="{FF2B5EF4-FFF2-40B4-BE49-F238E27FC236}">
                  <a16:creationId xmlns:a16="http://schemas.microsoft.com/office/drawing/2014/main" id="{C4D86C87-5D65-FD40-891D-1A82E23AEC3C}"/>
                </a:ext>
              </a:extLst>
            </p:cNvPr>
            <p:cNvSpPr txBox="1">
              <a:spLocks/>
            </p:cNvSpPr>
            <p:nvPr/>
          </p:nvSpPr>
          <p:spPr>
            <a:xfrm>
              <a:off x="4975284" y="1192048"/>
              <a:ext cx="2126511" cy="112585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0600" b="1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III</a:t>
              </a:r>
              <a:endParaRPr lang="ru-RU" sz="10600" b="1" dirty="0">
                <a:solidFill>
                  <a:schemeClr val="bg2"/>
                </a:solidFill>
                <a:latin typeface="Proxima Nova Rg" panose="02000506030000020004" pitchFamily="50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C686F6-CECA-3642-9073-46BC77627F03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2484" y="3429000"/>
            <a:ext cx="167285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61890" y="4161210"/>
            <a:ext cx="10890331" cy="756842"/>
          </a:xfrm>
        </p:spPr>
        <p:txBody>
          <a:bodyPr/>
          <a:lstStyle>
            <a:lvl1pPr algn="ctr">
              <a:defRPr lang="ru-RU" sz="4000" b="1" kern="1200" dirty="0">
                <a:solidFill>
                  <a:schemeClr val="tx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2674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68476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0111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  <a:prstGeom prst="rect">
            <a:avLst/>
          </a:prstGeom>
        </p:spPr>
        <p:txBody>
          <a:bodyPr/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1864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900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587" y="0"/>
            <a:ext cx="6096000" cy="49879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6762327" y="1412875"/>
            <a:ext cx="4670424" cy="1197354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762750" y="2724666"/>
            <a:ext cx="4670425" cy="276808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82098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52058D-C72C-314B-9146-CB4A74548DE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Proxima Nova Rg" panose="02000506030000020004" pitchFamily="50" charset="0"/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13508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1353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762" y="3111336"/>
            <a:ext cx="10309872" cy="1733796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4400" b="1" kern="1200" dirty="0">
                <a:solidFill>
                  <a:schemeClr val="bg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4559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4535488" y="1525588"/>
            <a:ext cx="3135312" cy="1541462"/>
            <a:chOff x="4471256" y="1192048"/>
            <a:chExt cx="3134568" cy="1542290"/>
          </a:xfrm>
        </p:grpSpPr>
        <p:sp>
          <p:nvSpPr>
            <p:cNvPr id="4" name="Заголовок 1">
              <a:extLst>
                <a:ext uri="{FF2B5EF4-FFF2-40B4-BE49-F238E27FC236}">
                  <a16:creationId xmlns:a16="http://schemas.microsoft.com/office/drawing/2014/main" id="{6DD4C85F-9811-402B-8E80-7F5878EE1720}"/>
                </a:ext>
              </a:extLst>
            </p:cNvPr>
            <p:cNvSpPr txBox="1">
              <a:spLocks/>
            </p:cNvSpPr>
            <p:nvPr/>
          </p:nvSpPr>
          <p:spPr>
            <a:xfrm>
              <a:off x="4471256" y="2075172"/>
              <a:ext cx="3134568" cy="659166"/>
            </a:xfrm>
            <a:prstGeom prst="rect">
              <a:avLst/>
            </a:prstGeom>
          </p:spPr>
          <p:txBody>
            <a:bodyPr anchor="ctr">
              <a:normAutofit/>
            </a:bodyPr>
            <a:lstStyle>
              <a:lvl1pPr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defRPr/>
              </a:pPr>
              <a:r>
                <a:rPr lang="ru-RU" altLang="ru-RU" sz="2400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ЧАСТЬ</a:t>
              </a:r>
            </a:p>
          </p:txBody>
        </p:sp>
        <p:sp>
          <p:nvSpPr>
            <p:cNvPr id="5" name="Заголовок 1">
              <a:extLst>
                <a:ext uri="{FF2B5EF4-FFF2-40B4-BE49-F238E27FC236}">
                  <a16:creationId xmlns:a16="http://schemas.microsoft.com/office/drawing/2014/main" id="{C6AFC882-188A-4BB0-93A2-E69C6C0E8BC5}"/>
                </a:ext>
              </a:extLst>
            </p:cNvPr>
            <p:cNvSpPr txBox="1">
              <a:spLocks/>
            </p:cNvSpPr>
            <p:nvPr/>
          </p:nvSpPr>
          <p:spPr>
            <a:xfrm>
              <a:off x="4975961" y="1192048"/>
              <a:ext cx="2125158" cy="112614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10600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III</a:t>
              </a:r>
              <a:endParaRPr lang="ru-RU" sz="10600" dirty="0">
                <a:solidFill>
                  <a:schemeClr val="bg2"/>
                </a:solidFill>
                <a:latin typeface="Proxima Nova Rg" panose="02000506030000020004" pitchFamily="50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9E4115C-7F5C-426B-9992-8324480A40AC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3038" y="3429000"/>
            <a:ext cx="167163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61890" y="4161210"/>
            <a:ext cx="10890331" cy="756842"/>
          </a:xfrm>
        </p:spPr>
        <p:txBody>
          <a:bodyPr/>
          <a:lstStyle>
            <a:lvl1pPr algn="ctr">
              <a:defRPr lang="ru-RU" sz="4000" b="1" kern="1200" dirty="0">
                <a:solidFill>
                  <a:schemeClr val="tx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08413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5258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8132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06B535F-7592-4637-86FB-FDE4077409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0BBB1-AC55-4FF3-BF4D-83E339E7FBB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96890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587" y="0"/>
            <a:ext cx="6096000" cy="49879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  <a:endParaRPr lang="ru-RU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762327" y="1412875"/>
            <a:ext cx="4670424" cy="1197354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762750" y="2724666"/>
            <a:ext cx="4670425" cy="276808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06B535F-7592-4637-86FB-FDE4077409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7BB14-1348-48BF-9E9F-7B701AF46DC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619135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1E90F8BD-54DA-4513-BDC3-A767522EB25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Proxima Nova Rg" panose="02000506030000020004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  <a:endParaRPr lang="ru-RU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0DD7A64-2197-411E-9CA0-3EBFD7269C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F462F-7800-4696-9C17-BF4BB4B5E7B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54517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12410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"/>
          <p:cNvSpPr>
            <a:spLocks noGrp="1"/>
          </p:cNvSpPr>
          <p:nvPr>
            <p:ph type="pic" sz="quarter" idx="11"/>
          </p:nvPr>
        </p:nvSpPr>
        <p:spPr>
          <a:xfrm>
            <a:off x="3257549" y="590549"/>
            <a:ext cx="2838451" cy="2838451"/>
          </a:xfrm>
          <a:prstGeom prst="rect">
            <a:avLst/>
          </a:prstGeom>
        </p:spPr>
      </p:sp>
      <p:sp>
        <p:nvSpPr>
          <p:cNvPr id="19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19100" y="3429000"/>
            <a:ext cx="2838451" cy="2838451"/>
          </a:xfrm>
          <a:prstGeom prst="rect">
            <a:avLst/>
          </a:prstGeom>
        </p:spPr>
      </p:sp>
      <p:sp>
        <p:nvSpPr>
          <p:cNvPr id="2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096000" y="3429000"/>
            <a:ext cx="2838451" cy="2838451"/>
          </a:xfrm>
          <a:prstGeom prst="rect">
            <a:avLst/>
          </a:prstGeom>
        </p:spPr>
      </p:sp>
      <p:sp>
        <p:nvSpPr>
          <p:cNvPr id="2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934449" y="590549"/>
            <a:ext cx="2838451" cy="2838451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2509300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9">
            <a:extLst>
              <a:ext uri="{FF2B5EF4-FFF2-40B4-BE49-F238E27FC236}">
                <a16:creationId xmlns:a16="http://schemas.microsoft.com/office/drawing/2014/main" id="{5E393314-924D-0344-9674-1DB9FF3EE20C}"/>
              </a:ext>
            </a:extLst>
          </p:cNvPr>
          <p:cNvSpPr/>
          <p:nvPr userDrawn="1"/>
        </p:nvSpPr>
        <p:spPr>
          <a:xfrm>
            <a:off x="143691" y="4728754"/>
            <a:ext cx="12048309" cy="2129246"/>
          </a:xfrm>
          <a:prstGeom prst="triangle">
            <a:avLst>
              <a:gd name="adj" fmla="val 100000"/>
            </a:avLst>
          </a:prstGeom>
          <a:solidFill>
            <a:srgbClr val="0E16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8447D8BC-A713-45C8-ADE9-5F49053BE77B}"/>
              </a:ext>
            </a:extLst>
          </p:cNvPr>
          <p:cNvSpPr/>
          <p:nvPr userDrawn="1"/>
        </p:nvSpPr>
        <p:spPr>
          <a:xfrm rot="16200000" flipH="1">
            <a:off x="8615762" y="3311019"/>
            <a:ext cx="3755048" cy="3397432"/>
          </a:xfrm>
          <a:custGeom>
            <a:avLst/>
            <a:gdLst>
              <a:gd name="connsiteX0" fmla="*/ 0 w 3817489"/>
              <a:gd name="connsiteY0" fmla="*/ 3397433 h 3397433"/>
              <a:gd name="connsiteX1" fmla="*/ 3817489 w 3817489"/>
              <a:gd name="connsiteY1" fmla="*/ 3397432 h 3397433"/>
              <a:gd name="connsiteX2" fmla="*/ 3817489 w 3817489"/>
              <a:gd name="connsiteY2" fmla="*/ 0 h 3397433"/>
              <a:gd name="connsiteX3" fmla="*/ 663484 w 3817489"/>
              <a:gd name="connsiteY3" fmla="*/ 0 h 3397433"/>
              <a:gd name="connsiteX0" fmla="*/ 5 w 3817494"/>
              <a:gd name="connsiteY0" fmla="*/ 3397433 h 3397433"/>
              <a:gd name="connsiteX1" fmla="*/ 3817494 w 3817494"/>
              <a:gd name="connsiteY1" fmla="*/ 3397432 h 3397433"/>
              <a:gd name="connsiteX2" fmla="*/ 3817494 w 3817494"/>
              <a:gd name="connsiteY2" fmla="*/ 0 h 3397433"/>
              <a:gd name="connsiteX3" fmla="*/ 663489 w 3817494"/>
              <a:gd name="connsiteY3" fmla="*/ 0 h 3397433"/>
              <a:gd name="connsiteX4" fmla="*/ 5 w 3817494"/>
              <a:gd name="connsiteY4" fmla="*/ 3397433 h 3397433"/>
              <a:gd name="connsiteX0" fmla="*/ 7 w 3755050"/>
              <a:gd name="connsiteY0" fmla="*/ 3392976 h 3397432"/>
              <a:gd name="connsiteX1" fmla="*/ 3755050 w 3755050"/>
              <a:gd name="connsiteY1" fmla="*/ 3397432 h 3397432"/>
              <a:gd name="connsiteX2" fmla="*/ 3755050 w 3755050"/>
              <a:gd name="connsiteY2" fmla="*/ 0 h 3397432"/>
              <a:gd name="connsiteX3" fmla="*/ 601045 w 3755050"/>
              <a:gd name="connsiteY3" fmla="*/ 0 h 3397432"/>
              <a:gd name="connsiteX4" fmla="*/ 7 w 3755050"/>
              <a:gd name="connsiteY4" fmla="*/ 3392976 h 3397432"/>
              <a:gd name="connsiteX0" fmla="*/ 5 w 3755048"/>
              <a:gd name="connsiteY0" fmla="*/ 3392976 h 3397432"/>
              <a:gd name="connsiteX1" fmla="*/ 3755048 w 3755048"/>
              <a:gd name="connsiteY1" fmla="*/ 3397432 h 3397432"/>
              <a:gd name="connsiteX2" fmla="*/ 3755048 w 3755048"/>
              <a:gd name="connsiteY2" fmla="*/ 0 h 3397432"/>
              <a:gd name="connsiteX3" fmla="*/ 601043 w 3755048"/>
              <a:gd name="connsiteY3" fmla="*/ 0 h 3397432"/>
              <a:gd name="connsiteX4" fmla="*/ 5 w 3755048"/>
              <a:gd name="connsiteY4" fmla="*/ 3392976 h 339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048" h="3397432">
                <a:moveTo>
                  <a:pt x="5" y="3392976"/>
                </a:moveTo>
                <a:lnTo>
                  <a:pt x="3755048" y="3397432"/>
                </a:lnTo>
                <a:lnTo>
                  <a:pt x="3755048" y="0"/>
                </a:lnTo>
                <a:lnTo>
                  <a:pt x="601043" y="0"/>
                </a:lnTo>
                <a:cubicBezTo>
                  <a:pt x="602907" y="-486"/>
                  <a:pt x="-1859" y="3393462"/>
                  <a:pt x="5" y="3392976"/>
                </a:cubicBezTo>
                <a:close/>
              </a:path>
            </a:pathLst>
          </a:custGeom>
          <a:solidFill>
            <a:srgbClr val="247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7FF2AAE-11F2-CA46-8130-8C88C237D3F9}"/>
              </a:ext>
            </a:extLst>
          </p:cNvPr>
          <p:cNvSpPr/>
          <p:nvPr userDrawn="1"/>
        </p:nvSpPr>
        <p:spPr>
          <a:xfrm rot="5400000" flipV="1">
            <a:off x="2483367" y="-513921"/>
            <a:ext cx="5397238" cy="9405122"/>
          </a:xfrm>
          <a:custGeom>
            <a:avLst/>
            <a:gdLst>
              <a:gd name="connsiteX0" fmla="*/ 0 w 5397238"/>
              <a:gd name="connsiteY0" fmla="*/ 9405122 h 9405122"/>
              <a:gd name="connsiteX1" fmla="*/ 5397238 w 5397238"/>
              <a:gd name="connsiteY1" fmla="*/ 9405122 h 9405122"/>
              <a:gd name="connsiteX2" fmla="*/ 5397238 w 5397238"/>
              <a:gd name="connsiteY2" fmla="*/ 0 h 9405122"/>
              <a:gd name="connsiteX3" fmla="*/ 1665095 w 5397238"/>
              <a:gd name="connsiteY3" fmla="*/ 0 h 9405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97238" h="9405122">
                <a:moveTo>
                  <a:pt x="0" y="9405122"/>
                </a:moveTo>
                <a:lnTo>
                  <a:pt x="5397238" y="9405122"/>
                </a:lnTo>
                <a:lnTo>
                  <a:pt x="5397238" y="0"/>
                </a:lnTo>
                <a:lnTo>
                  <a:pt x="1665095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  <a:alpha val="2000"/>
                </a:schemeClr>
              </a:gs>
              <a:gs pos="38000">
                <a:schemeClr val="accent1">
                  <a:lumMod val="75000"/>
                  <a:alpha val="13000"/>
                </a:schemeClr>
              </a:gs>
              <a:gs pos="69000">
                <a:schemeClr val="accent1">
                  <a:lumMod val="75000"/>
                  <a:alpha val="69000"/>
                </a:schemeClr>
              </a:gs>
              <a:gs pos="98000">
                <a:schemeClr val="accent1">
                  <a:lumMod val="75000"/>
                  <a:alpha val="59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BB97FE-ACB4-7947-9A79-678532F25420}"/>
              </a:ext>
            </a:extLst>
          </p:cNvPr>
          <p:cNvCxnSpPr>
            <a:cxnSpLocks/>
          </p:cNvCxnSpPr>
          <p:nvPr userDrawn="1"/>
        </p:nvCxnSpPr>
        <p:spPr>
          <a:xfrm>
            <a:off x="519964" y="1977446"/>
            <a:ext cx="1104742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2F8046-E18F-304A-94C9-5E9DB8C4CC39}"/>
              </a:ext>
            </a:extLst>
          </p:cNvPr>
          <p:cNvCxnSpPr>
            <a:cxnSpLocks/>
          </p:cNvCxnSpPr>
          <p:nvPr userDrawn="1"/>
        </p:nvCxnSpPr>
        <p:spPr>
          <a:xfrm>
            <a:off x="520069" y="4556020"/>
            <a:ext cx="1104742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7">
            <a:extLst>
              <a:ext uri="{FF2B5EF4-FFF2-40B4-BE49-F238E27FC236}">
                <a16:creationId xmlns:a16="http://schemas.microsoft.com/office/drawing/2014/main" id="{1F174F76-79D2-704D-8B6F-8BDC2FEED24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9964" y="4569083"/>
            <a:ext cx="11047421" cy="1810501"/>
          </a:xfrm>
        </p:spPr>
        <p:txBody>
          <a:bodyPr tIns="0" bIns="0">
            <a:noAutofit/>
          </a:bodyPr>
          <a:lstStyle>
            <a:lvl1pPr>
              <a:lnSpc>
                <a:spcPts val="3980"/>
              </a:lnSpc>
              <a:defRPr sz="4400" b="1" i="0">
                <a:solidFill>
                  <a:schemeClr val="bg1"/>
                </a:solidFill>
                <a:latin typeface="Raleway" pitchFamily="2" charset="77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презентации</a:t>
            </a:r>
            <a:endParaRPr lang="en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60E396-B81D-9946-806B-1B35DCC5A7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700" y="3708400"/>
            <a:ext cx="11047413" cy="847725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lang="en-RU" sz="2400" b="1" i="0" kern="1200" dirty="0">
                <a:solidFill>
                  <a:schemeClr val="bg1"/>
                </a:solidFill>
                <a:latin typeface="Proxima Nova Rg" panose="02000506030000020004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 </a:t>
            </a:r>
          </a:p>
          <a:p>
            <a:pPr lvl="0"/>
            <a:r>
              <a:rPr lang="ru-RU" dirty="0"/>
              <a:t>презентации</a:t>
            </a:r>
            <a:endParaRPr lang="en-RU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11DE5692-7692-144A-B76E-D0688B3F9D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20" y="989297"/>
            <a:ext cx="2142627" cy="66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04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850" y="520679"/>
            <a:ext cx="10874375" cy="1008041"/>
          </a:xfrm>
        </p:spPr>
        <p:txBody>
          <a:bodyPr anchor="ctr"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8213" y="1930401"/>
            <a:ext cx="4691062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2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88" y="1930401"/>
            <a:ext cx="2647950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lang="en-GB" sz="18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Текст 2 </a:t>
            </a:r>
            <a:endParaRPr lang="en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5AC38DF-3D5A-8543-914B-5E87521F6B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29712" y="1941513"/>
            <a:ext cx="2643188" cy="37877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lang="en-RU" sz="1800" b="0" i="0" kern="1200" dirty="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ru-RU" dirty="0"/>
              <a:t>Текст 3 </a:t>
            </a:r>
            <a:endParaRPr lang="en-RU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4BE1A3-6270-8F49-9EDF-AA105AA426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E4FB16F2-51A2-E740-A115-77E5BE165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799" y="6398700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258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143" y="520700"/>
            <a:ext cx="10874375" cy="1008041"/>
          </a:xfrm>
        </p:spPr>
        <p:txBody>
          <a:bodyPr lIns="90000" anchor="ctr"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8213" y="1930401"/>
            <a:ext cx="4691062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20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88" y="1930401"/>
            <a:ext cx="2647950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marR="0" indent="-31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14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Текст 2: 1</a:t>
            </a:r>
          </a:p>
          <a:p>
            <a:pPr lvl="0"/>
            <a:r>
              <a:rPr lang="ru-RU" dirty="0"/>
              <a:t>Текст 2: 2</a:t>
            </a:r>
            <a:endParaRPr lang="en-US" dirty="0"/>
          </a:p>
          <a:p>
            <a:pPr lvl="0"/>
            <a:endParaRPr lang="en-RU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E31D8355-593A-A942-8F6A-A190A8A580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6856" y="1930401"/>
            <a:ext cx="2647950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marR="0" indent="-31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14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Текст 3: 1</a:t>
            </a:r>
          </a:p>
          <a:p>
            <a:pPr lvl="0"/>
            <a:r>
              <a:rPr lang="ru-RU" dirty="0"/>
              <a:t>Текст 3: 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F502CF-F0EB-164B-A44D-701B331C466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ED20B-DF0B-064F-BFAE-E519E6C2E9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235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0C4205C-A423-7449-BF3C-E685AD6E81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 dirty="0"/>
              <a:t>Pic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F53F74-19EA-D844-819B-837EAEE5EA2B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7A2BD88-CA12-EF45-8C16-DCFBC12AE942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C3821F4-AEC9-2E4B-9A7C-7E174121F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1333" y="1659467"/>
            <a:ext cx="4673600" cy="4419600"/>
          </a:xfrm>
          <a:prstGeom prst="rect">
            <a:avLst/>
          </a:prstGeom>
        </p:spPr>
        <p:txBody>
          <a:bodyPr/>
          <a:lstStyle>
            <a:lvl1pPr marL="15875" indent="-15875">
              <a:buNone/>
              <a:tabLst/>
              <a:defRPr sz="2400" b="1" i="0">
                <a:solidFill>
                  <a:schemeClr val="accent1"/>
                </a:solidFill>
                <a:latin typeface="Raleway" pitchFamily="2" charset="77"/>
              </a:defRPr>
            </a:lvl1pPr>
            <a:lvl2pPr>
              <a:defRPr b="1" i="0">
                <a:latin typeface="Raleway" pitchFamily="2" charset="77"/>
              </a:defRPr>
            </a:lvl2pPr>
            <a:lvl3pPr>
              <a:defRPr b="1" i="0">
                <a:latin typeface="Raleway" pitchFamily="2" charset="77"/>
              </a:defRPr>
            </a:lvl3pPr>
            <a:lvl4pPr>
              <a:defRPr b="1" i="0">
                <a:latin typeface="Raleway" pitchFamily="2" charset="77"/>
              </a:defRPr>
            </a:lvl4pPr>
            <a:lvl5pPr>
              <a:defRPr b="1" i="0">
                <a:latin typeface="Raleway" pitchFamily="2" charset="77"/>
              </a:defRPr>
            </a:lvl5pPr>
          </a:lstStyle>
          <a:p>
            <a:pPr lvl="0"/>
            <a:r>
              <a:rPr lang="ru-RU" dirty="0"/>
              <a:t>Текст</a:t>
            </a:r>
            <a:endParaRPr lang="en-R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E9F676-C12B-264C-92B2-D896127CBA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6563CE-CE71-9E4D-B45B-229687CF9C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0054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61E942-C682-844F-98C9-C5865F3A1935}"/>
              </a:ext>
            </a:extLst>
          </p:cNvPr>
          <p:cNvSpPr/>
          <p:nvPr userDrawn="1"/>
        </p:nvSpPr>
        <p:spPr>
          <a:xfrm>
            <a:off x="-14288" y="-14288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BEBA21CD-9944-CF46-9747-2C8D6EEECEE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04971" y="1477952"/>
            <a:ext cx="4637237" cy="1685925"/>
          </a:xfrm>
          <a:prstGeom prst="rect">
            <a:avLst/>
          </a:prstGeom>
        </p:spPr>
        <p:txBody>
          <a:bodyPr lIns="90000" tIns="46800" rIns="90000" bIns="46800"/>
          <a:lstStyle>
            <a:lvl1pPr marL="228600" marR="0" indent="11557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400" b="0" i="0" kern="1200" dirty="0" smtClean="0">
                <a:solidFill>
                  <a:schemeClr val="bg1"/>
                </a:solidFill>
                <a:latin typeface="Proxima Nova Rg" panose="02000506030000020004" pitchFamily="50" charset="0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Текст</a:t>
            </a:r>
            <a:endParaRPr lang="en-R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87FBD85-C3DC-B14D-94A6-C9E5069E2EB7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75F6C1-59CE-3B4A-8AB8-99A3CAC04012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0">
            <a:extLst>
              <a:ext uri="{FF2B5EF4-FFF2-40B4-BE49-F238E27FC236}">
                <a16:creationId xmlns:a16="http://schemas.microsoft.com/office/drawing/2014/main" id="{12EDF11C-97D5-694A-AF26-85EFD2D17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12763"/>
            <a:ext cx="5570835" cy="607206"/>
          </a:xfrm>
        </p:spPr>
        <p:txBody>
          <a:bodyPr lIns="90000" anchor="ctr">
            <a:noAutofit/>
          </a:bodyPr>
          <a:lstStyle>
            <a:lvl1pPr>
              <a:defRPr sz="3200" b="1" i="0">
                <a:solidFill>
                  <a:schemeClr val="bg1"/>
                </a:solidFill>
                <a:latin typeface="Proxima Nova Rg" panose="02000506030000020004" pitchFamily="50" charset="0"/>
              </a:defRPr>
            </a:lvl1pPr>
          </a:lstStyle>
          <a:p>
            <a:r>
              <a:rPr lang="ru-RU" dirty="0"/>
              <a:t>Заголовок слайда</a:t>
            </a:r>
            <a:endParaRPr lang="en-RU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ACBBD1-6E39-8C4F-A4BD-5D658225A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3116" y="2136336"/>
            <a:ext cx="4637237" cy="12731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30188" marR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000" b="0" i="0" kern="1200" dirty="0">
                <a:solidFill>
                  <a:schemeClr val="tx1"/>
                </a:solidFill>
                <a:latin typeface="Proxima Nova Rg" panose="02000506030000020004" pitchFamily="50" charset="0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Текст 1 </a:t>
            </a:r>
            <a:endParaRPr lang="en-RU" dirty="0"/>
          </a:p>
          <a:p>
            <a:pPr lvl="0"/>
            <a:endParaRPr lang="en-RU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7B814B5-6195-E144-A30E-1DF2312A5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2257" y="530086"/>
            <a:ext cx="4637237" cy="15844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15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 dirty="0"/>
              <a:t>72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721A79C-AF18-0141-95A4-CAD6E6DD91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4818" y="5027338"/>
            <a:ext cx="4637237" cy="12731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000" b="0" i="0" kern="1200" dirty="0">
                <a:solidFill>
                  <a:schemeClr val="tx1"/>
                </a:solidFill>
                <a:latin typeface="Proxima Nova Rg" panose="02000506030000020004" pitchFamily="50" charset="0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Текст 2 </a:t>
            </a:r>
            <a:endParaRPr lang="en-RU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0E8727A-95B1-1246-8490-F8DEA6EA11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5527" y="3428122"/>
            <a:ext cx="4637237" cy="15844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15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 dirty="0"/>
              <a:t>43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A740EA-D173-2243-B2CF-D88324319FF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597626-F7D3-E049-B99F-C6F6422FEE1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648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7AC0549-E6B3-4343-BD21-4F8013F40114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9A9DF43-5743-1143-A50E-85C8E2BE55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977" y="607588"/>
            <a:ext cx="7989888" cy="2874963"/>
          </a:xfrm>
          <a:prstGeom prst="rect">
            <a:avLst/>
          </a:prstGeom>
        </p:spPr>
        <p:txBody>
          <a:bodyPr lIns="90000"/>
          <a:lstStyle>
            <a:lvl1pPr marL="15875" indent="-15875">
              <a:buNone/>
              <a:tabLst/>
              <a:defRPr sz="3600" b="1" i="0">
                <a:solidFill>
                  <a:schemeClr val="bg1"/>
                </a:solidFill>
                <a:latin typeface="Raleway" pitchFamily="2" charset="77"/>
              </a:defRPr>
            </a:lvl1pPr>
            <a:lvl2pPr>
              <a:defRPr b="0" i="0">
                <a:latin typeface="Raleway Medium" pitchFamily="2" charset="77"/>
              </a:defRPr>
            </a:lvl2pPr>
            <a:lvl3pPr>
              <a:defRPr b="0" i="0">
                <a:latin typeface="Raleway Medium" pitchFamily="2" charset="77"/>
              </a:defRPr>
            </a:lvl3pPr>
            <a:lvl4pPr>
              <a:defRPr b="0" i="0">
                <a:latin typeface="Raleway Medium" pitchFamily="2" charset="77"/>
              </a:defRPr>
            </a:lvl4pPr>
            <a:lvl5pPr>
              <a:defRPr b="0" i="0">
                <a:latin typeface="Raleway Medium" pitchFamily="2" charset="77"/>
              </a:defRPr>
            </a:lvl5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DF79606-F0FA-DC4B-87A1-79DE00AC8FC3}"/>
              </a:ext>
            </a:extLst>
          </p:cNvPr>
          <p:cNvCxnSpPr>
            <a:cxnSpLocks/>
          </p:cNvCxnSpPr>
          <p:nvPr userDrawn="1"/>
        </p:nvCxnSpPr>
        <p:spPr>
          <a:xfrm>
            <a:off x="479425" y="6349272"/>
            <a:ext cx="253223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D84DD2-F77A-F54C-B426-9534E37655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4763" indent="-4763">
              <a:lnSpc>
                <a:spcPct val="90000"/>
              </a:lnSpc>
            </a:pPr>
            <a:r>
              <a:rPr lang="ru-RU" dirty="0"/>
              <a:t>Название презентации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EF43A93-99E0-4E45-AAA3-9724AC17D3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7888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5321DEF-03AE-B843-B724-8D95072E65B6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F57457-BEF5-944A-85E5-E4DB58E91784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0523944D-45CB-F247-8C49-990D80586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836" y="512763"/>
            <a:ext cx="5285833" cy="1041717"/>
          </a:xfrm>
        </p:spPr>
        <p:txBody>
          <a:bodyPr lIns="90000" tIns="46800" rIns="90000" bIns="46800" anchor="t"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20218A7-45E3-6D4D-B9B7-C48A132BE1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6173" y="1877851"/>
            <a:ext cx="4691062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0F9A8364-AB50-F244-94BA-EDF0088A8CD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 dirty="0"/>
              <a:t>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1516DD-BBD8-B84B-ADDD-B7BA83874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8DFA1-878E-D645-B69C-7985499A66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0095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07AA7-F39B-904A-BC75-FCBB383A76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772" y="504041"/>
            <a:ext cx="10869027" cy="1041717"/>
          </a:xfrm>
        </p:spPr>
        <p:txBody>
          <a:bodyPr>
            <a:noAutofit/>
          </a:bodyPr>
          <a:lstStyle>
            <a:lvl1pPr>
              <a:defRPr sz="3200" b="1" i="0">
                <a:latin typeface="Raleway" pitchFamily="2" charset="77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4037180-581A-3C40-BE45-768724BE8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688" y="1879491"/>
            <a:ext cx="2895966" cy="41560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</a:t>
            </a:r>
            <a:endParaRPr lang="en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4E897F-AAC2-8247-A67E-64828750367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05979-63B6-5745-9C05-34EDE9C84AC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7078CD-49D2-3C4E-85CF-4A2895BB5DC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9703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E348D-4495-FC40-B5B0-2AB219F9B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>
            <a:noAutofit/>
          </a:bodyPr>
          <a:lstStyle>
            <a:lvl1pPr>
              <a:defRPr lang="en-RU" sz="3200" b="1" dirty="0"/>
            </a:lvl1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83880E8C-4021-DE41-A653-92B64AA79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4463" y="1908810"/>
            <a:ext cx="5395306" cy="4073536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2000" b="0" i="0">
                <a:latin typeface="Raleway" pitchFamily="2" charset="77"/>
              </a:defRPr>
            </a:lvl1pPr>
          </a:lstStyle>
          <a:p>
            <a:pPr lvl="0"/>
            <a:r>
              <a:rPr lang="en-GB" dirty="0"/>
              <a:t> </a:t>
            </a:r>
            <a:r>
              <a:rPr lang="ru-RU" dirty="0"/>
              <a:t>Текст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11B62F6-F977-FD45-8500-0CCE1B34BC82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10BCDE-A926-9848-A96F-BF086F06F04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3E6A37-C3E7-4145-B3D6-6361B6175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766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1517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8BA4713-C3CF-8748-ABEF-8597521E23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993" y="518330"/>
            <a:ext cx="10854739" cy="1041717"/>
          </a:xfrm>
        </p:spPr>
        <p:txBody>
          <a:bodyPr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EDDBC8B-3B38-6B40-B2E5-4C7B3DA55B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14413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 dirty="0"/>
              <a:t>Picture</a:t>
            </a:r>
            <a:endParaRPr lang="en-RU" dirty="0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695DDE34-0B29-BD40-8E65-F803AC635DC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57713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 dirty="0"/>
              <a:t>Picture</a:t>
            </a:r>
            <a:endParaRPr lang="en-RU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07DE0664-5D26-3048-8FFA-4E40206B1B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5301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 dirty="0"/>
              <a:t>Picture</a:t>
            </a:r>
            <a:endParaRPr lang="en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40CF5C1-DC08-C447-9CFF-ED79D9112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6490" y="4388538"/>
            <a:ext cx="3024187" cy="1050925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en-GB" dirty="0"/>
              <a:t> </a:t>
            </a:r>
            <a:r>
              <a:rPr lang="ru-RU" dirty="0"/>
              <a:t>Текст 1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8341765-AEB0-424D-9C35-3FE480A0EB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7712" y="4384538"/>
            <a:ext cx="3024187" cy="1050925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en-GB" dirty="0"/>
              <a:t> </a:t>
            </a:r>
            <a:r>
              <a:rPr lang="ru-RU" dirty="0"/>
              <a:t>Текст 2 </a:t>
            </a:r>
            <a:endParaRPr lang="en-GB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8ED627E-1D0A-C04B-A9F5-533EF6A21B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1" y="4388538"/>
            <a:ext cx="3024187" cy="1050925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3</a:t>
            </a:r>
            <a:endParaRPr lang="en-GB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360FB1-25D1-624B-ADF8-48470F362C99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B5D64-C42B-9A4E-A3DC-04D249A9D8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FD1C9B-F75C-9D45-A410-926E6E5559E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3466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C4A512D1-1BF0-BA4D-815C-20891FA51384}"/>
              </a:ext>
            </a:extLst>
          </p:cNvPr>
          <p:cNvSpPr/>
          <p:nvPr userDrawn="1"/>
        </p:nvSpPr>
        <p:spPr>
          <a:xfrm rot="16200000" flipV="1">
            <a:off x="8353155" y="3025445"/>
            <a:ext cx="2125652" cy="5575786"/>
          </a:xfrm>
          <a:custGeom>
            <a:avLst/>
            <a:gdLst>
              <a:gd name="connsiteX0" fmla="*/ 2125652 w 2125652"/>
              <a:gd name="connsiteY0" fmla="*/ 0 h 5575786"/>
              <a:gd name="connsiteX1" fmla="*/ 0 w 2125652"/>
              <a:gd name="connsiteY1" fmla="*/ 0 h 5575786"/>
              <a:gd name="connsiteX2" fmla="*/ 0 w 2125652"/>
              <a:gd name="connsiteY2" fmla="*/ 5575786 h 5575786"/>
              <a:gd name="connsiteX3" fmla="*/ 1129161 w 2125652"/>
              <a:gd name="connsiteY3" fmla="*/ 5575786 h 557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5652" h="5575786">
                <a:moveTo>
                  <a:pt x="2125652" y="0"/>
                </a:moveTo>
                <a:lnTo>
                  <a:pt x="0" y="0"/>
                </a:lnTo>
                <a:lnTo>
                  <a:pt x="0" y="5575786"/>
                </a:lnTo>
                <a:lnTo>
                  <a:pt x="1129161" y="55757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D3EFDA2-5871-A54F-A908-A39892C2C7D7}"/>
              </a:ext>
            </a:extLst>
          </p:cNvPr>
          <p:cNvCxnSpPr/>
          <p:nvPr userDrawn="1"/>
        </p:nvCxnSpPr>
        <p:spPr>
          <a:xfrm>
            <a:off x="505609" y="1968649"/>
            <a:ext cx="55903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E03114-F0CC-EF44-B9DE-AED021E29EC3}"/>
              </a:ext>
            </a:extLst>
          </p:cNvPr>
          <p:cNvCxnSpPr/>
          <p:nvPr userDrawn="1"/>
        </p:nvCxnSpPr>
        <p:spPr>
          <a:xfrm>
            <a:off x="505609" y="4561242"/>
            <a:ext cx="55903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1784CA0-AF7F-1440-8270-6E6B825648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10" y="3763757"/>
            <a:ext cx="3651250" cy="785699"/>
          </a:xfrm>
          <a:prstGeom prst="rect">
            <a:avLst/>
          </a:prstGeom>
        </p:spPr>
        <p:txBody>
          <a:bodyPr>
            <a:noAutofit/>
          </a:bodyPr>
          <a:lstStyle>
            <a:lvl1pPr marL="11113" indent="-11113">
              <a:spcBef>
                <a:spcPts val="0"/>
              </a:spcBef>
              <a:buNone/>
              <a:tabLst/>
              <a:defRPr lang="en-RU" sz="2400" b="1" i="0" kern="1200" dirty="0">
                <a:solidFill>
                  <a:schemeClr val="accent1"/>
                </a:solidFill>
                <a:latin typeface="Proxima Nova Rg" panose="02000506030000020004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 </a:t>
            </a:r>
            <a:endParaRPr lang="en-US" dirty="0"/>
          </a:p>
          <a:p>
            <a:pPr lvl="0"/>
            <a:r>
              <a:rPr lang="ru-RU" dirty="0"/>
              <a:t>презентации </a:t>
            </a:r>
            <a:endParaRPr lang="en-RU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7891C24-1C95-DF47-BEF2-EDA9E6507A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710" y="4750513"/>
            <a:ext cx="4281544" cy="1327553"/>
          </a:xfrm>
          <a:prstGeom prst="rect">
            <a:avLst/>
          </a:prstGeom>
        </p:spPr>
        <p:txBody>
          <a:bodyPr>
            <a:noAutofit/>
          </a:bodyPr>
          <a:lstStyle>
            <a:lvl1pPr marL="11113" indent="-11113">
              <a:spcBef>
                <a:spcPts val="0"/>
              </a:spcBef>
              <a:buNone/>
              <a:tabLst/>
              <a:defRPr lang="en-RU" sz="44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 презентации 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FC31B4-CF0F-BC47-B778-DD4CE26FA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pic>
        <p:nvPicPr>
          <p:cNvPr id="9" name="Picture 8" descr="A picture containing shape&#10;&#10;Description automatically generated">
            <a:extLst>
              <a:ext uri="{FF2B5EF4-FFF2-40B4-BE49-F238E27FC236}">
                <a16:creationId xmlns:a16="http://schemas.microsoft.com/office/drawing/2014/main" id="{2B45FC58-E923-0A4A-9086-502CEC555F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136" y="989297"/>
            <a:ext cx="2142627" cy="662267"/>
          </a:xfrm>
          <a:prstGeom prst="rect">
            <a:avLst/>
          </a:prstGeom>
        </p:spPr>
      </p:pic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B10599A-B0FE-43F7-B48F-BCE46C3226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33707" y="0"/>
            <a:ext cx="5569436" cy="5827713"/>
          </a:xfrm>
          <a:custGeom>
            <a:avLst/>
            <a:gdLst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5827713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2887744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55440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1792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8616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6"/>
              <a:gd name="connsiteY0" fmla="*/ 0 h 5827713"/>
              <a:gd name="connsiteX1" fmla="*/ 5567362 w 5569436"/>
              <a:gd name="connsiteY1" fmla="*/ 0 h 5827713"/>
              <a:gd name="connsiteX2" fmla="*/ 5569436 w 5569436"/>
              <a:gd name="connsiteY2" fmla="*/ 4848616 h 5827713"/>
              <a:gd name="connsiteX3" fmla="*/ 0 w 5569436"/>
              <a:gd name="connsiteY3" fmla="*/ 5827713 h 5827713"/>
              <a:gd name="connsiteX4" fmla="*/ 0 w 5569436"/>
              <a:gd name="connsiteY4" fmla="*/ 0 h 58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9436" h="5827713">
                <a:moveTo>
                  <a:pt x="0" y="0"/>
                </a:moveTo>
                <a:lnTo>
                  <a:pt x="5567362" y="0"/>
                </a:lnTo>
                <a:cubicBezTo>
                  <a:pt x="5568053" y="1616205"/>
                  <a:pt x="5568745" y="3232411"/>
                  <a:pt x="5569436" y="4848616"/>
                </a:cubicBezTo>
                <a:lnTo>
                  <a:pt x="0" y="5827713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911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ru-RU" spc="-5"/>
              <a:t>Мини</a:t>
            </a:r>
            <a:r>
              <a:rPr lang="ru-RU" spc="-20"/>
              <a:t> </a:t>
            </a:r>
            <a:r>
              <a:rPr lang="ru-RU" spc="-5"/>
              <a:t>МБА</a:t>
            </a:r>
            <a:r>
              <a:rPr lang="ru-RU" spc="10"/>
              <a:t> </a:t>
            </a:r>
            <a:r>
              <a:rPr lang="ru-RU" spc="-5"/>
              <a:t>Профессор Энтони</a:t>
            </a:r>
            <a:r>
              <a:rPr lang="ru-RU" spc="-30"/>
              <a:t> </a:t>
            </a:r>
            <a:r>
              <a:rPr lang="ru-RU" spc="-5"/>
              <a:t>П.</a:t>
            </a:r>
            <a:r>
              <a:rPr lang="ru-RU"/>
              <a:t> </a:t>
            </a:r>
            <a:r>
              <a:rPr lang="ru-RU" spc="-5"/>
              <a:t>Хурихан</a:t>
            </a:r>
            <a:endParaRPr lang="ru-RU" spc="-5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3427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3704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DA5B7-4214-4D09-8BF0-A8D05D1B2A53}" type="datetimeFigureOut">
              <a:rPr lang="ru-RU" smtClean="0"/>
              <a:t>01.06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4464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2543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449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7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906AC6A-B8A5-4456-8832-737357DC25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88003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46" imgW="395" imgH="396" progId="TCLayout.ActiveDocument.1">
                  <p:embed/>
                </p:oleObj>
              </mc:Choice>
              <mc:Fallback>
                <p:oleObj name="Слайд think-cell" r:id="rId46" imgW="395" imgH="39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906AC6A-B8A5-4456-8832-737357DC25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Proxima Nova Rg" panose="02000506030000020004" pitchFamily="50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Proxima Nova Rg" panose="02000506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Proxima Nova Rg" panose="02000506030000020004" pitchFamily="50" charset="0"/>
              </a:defRPr>
            </a:lvl1pPr>
          </a:lstStyle>
          <a:p>
            <a:fld id="{AD5FF801-CBB5-4369-B206-ED245736478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677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Proxima Nova Rg" panose="02000506030000020004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microsoft.com/office/2007/relationships/hdphoto" Target="../media/hdphoto2.wdp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6" Type="http://schemas.openxmlformats.org/officeDocument/2006/relationships/image" Target="../media/image14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11" Type="http://schemas.openxmlformats.org/officeDocument/2006/relationships/image" Target="../media/image10.jpeg"/><Relationship Id="rId5" Type="http://schemas.openxmlformats.org/officeDocument/2006/relationships/image" Target="../media/image1.emf"/><Relationship Id="rId15" Type="http://schemas.openxmlformats.org/officeDocument/2006/relationships/image" Target="../media/image13.jpeg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jpeg"/><Relationship Id="rId1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5133A14-F6E2-4988-86EF-65A8D62F67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35133A14-F6E2-4988-86EF-65A8D62F67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160785F-22C7-4024-B519-62F0704BAC64}"/>
              </a:ext>
            </a:extLst>
          </p:cNvPr>
          <p:cNvSpPr/>
          <p:nvPr/>
        </p:nvSpPr>
        <p:spPr>
          <a:xfrm>
            <a:off x="1912938" y="1921406"/>
            <a:ext cx="5898184" cy="4815408"/>
          </a:xfrm>
          <a:prstGeom prst="rect">
            <a:avLst/>
          </a:prstGeom>
          <a:gradFill>
            <a:gsLst>
              <a:gs pos="0">
                <a:srgbClr val="004F87">
                  <a:alpha val="60000"/>
                </a:srgbClr>
              </a:gs>
              <a:gs pos="50800">
                <a:srgbClr val="1B80AB">
                  <a:alpha val="17000"/>
                </a:srgbClr>
              </a:gs>
              <a:gs pos="100000">
                <a:schemeClr val="accent3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Прямоугольник 3">
            <a:extLst>
              <a:ext uri="{FF2B5EF4-FFF2-40B4-BE49-F238E27FC236}">
                <a16:creationId xmlns:a16="http://schemas.microsoft.com/office/drawing/2014/main" id="{66813B37-C5E1-41EC-8024-E2124FE8D519}"/>
              </a:ext>
            </a:extLst>
          </p:cNvPr>
          <p:cNvSpPr/>
          <p:nvPr/>
        </p:nvSpPr>
        <p:spPr>
          <a:xfrm>
            <a:off x="5959833" y="121186"/>
            <a:ext cx="9029434" cy="6877049"/>
          </a:xfrm>
          <a:custGeom>
            <a:avLst/>
            <a:gdLst>
              <a:gd name="connsiteX0" fmla="*/ 0 w 5219701"/>
              <a:gd name="connsiteY0" fmla="*/ 0 h 6858000"/>
              <a:gd name="connsiteX1" fmla="*/ 5219701 w 5219701"/>
              <a:gd name="connsiteY1" fmla="*/ 0 h 6858000"/>
              <a:gd name="connsiteX2" fmla="*/ 5219701 w 5219701"/>
              <a:gd name="connsiteY2" fmla="*/ 6858000 h 6858000"/>
              <a:gd name="connsiteX3" fmla="*/ 0 w 5219701"/>
              <a:gd name="connsiteY3" fmla="*/ 6858000 h 6858000"/>
              <a:gd name="connsiteX4" fmla="*/ 0 w 5219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219701 w 8648701"/>
              <a:gd name="connsiteY2" fmla="*/ 685800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75310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96265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8701" h="6858000">
                <a:moveTo>
                  <a:pt x="0" y="0"/>
                </a:moveTo>
                <a:lnTo>
                  <a:pt x="8648701" y="19050"/>
                </a:lnTo>
                <a:lnTo>
                  <a:pt x="5962651" y="683895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04F87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BB8DDD5-5E62-40CF-AF9F-5FCEAD1F3E9A}"/>
              </a:ext>
            </a:extLst>
          </p:cNvPr>
          <p:cNvSpPr/>
          <p:nvPr/>
        </p:nvSpPr>
        <p:spPr>
          <a:xfrm>
            <a:off x="-1" y="0"/>
            <a:ext cx="8648701" cy="6877050"/>
          </a:xfrm>
          <a:custGeom>
            <a:avLst/>
            <a:gdLst>
              <a:gd name="connsiteX0" fmla="*/ 0 w 5219701"/>
              <a:gd name="connsiteY0" fmla="*/ 0 h 6858000"/>
              <a:gd name="connsiteX1" fmla="*/ 5219701 w 5219701"/>
              <a:gd name="connsiteY1" fmla="*/ 0 h 6858000"/>
              <a:gd name="connsiteX2" fmla="*/ 5219701 w 5219701"/>
              <a:gd name="connsiteY2" fmla="*/ 6858000 h 6858000"/>
              <a:gd name="connsiteX3" fmla="*/ 0 w 5219701"/>
              <a:gd name="connsiteY3" fmla="*/ 6858000 h 6858000"/>
              <a:gd name="connsiteX4" fmla="*/ 0 w 5219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219701 w 8648701"/>
              <a:gd name="connsiteY2" fmla="*/ 685800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75310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96265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8701" h="6858000">
                <a:moveTo>
                  <a:pt x="0" y="0"/>
                </a:moveTo>
                <a:lnTo>
                  <a:pt x="8648701" y="19050"/>
                </a:lnTo>
                <a:lnTo>
                  <a:pt x="5962651" y="683895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04F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F35EACB-625D-4CD5-8999-E16F8AA11184}"/>
              </a:ext>
            </a:extLst>
          </p:cNvPr>
          <p:cNvSpPr txBox="1">
            <a:spLocks/>
          </p:cNvSpPr>
          <p:nvPr/>
        </p:nvSpPr>
        <p:spPr>
          <a:xfrm>
            <a:off x="396607" y="960781"/>
            <a:ext cx="8523245" cy="32044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HR </a:t>
            </a:r>
            <a:r>
              <a:rPr kumimoji="0" lang="ru-RU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в цифровую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эпоху: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смыслы, роли,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компетенции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C94757D-27F6-4CA5-B0DB-A783A35253C3}"/>
              </a:ext>
            </a:extLst>
          </p:cNvPr>
          <p:cNvSpPr txBox="1">
            <a:spLocks/>
          </p:cNvSpPr>
          <p:nvPr/>
        </p:nvSpPr>
        <p:spPr>
          <a:xfrm>
            <a:off x="7060367" y="4682918"/>
            <a:ext cx="5006714" cy="15273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000" b="1" dirty="0">
                <a:solidFill>
                  <a:schemeClr val="accent4">
                    <a:lumMod val="50000"/>
                  </a:schemeClr>
                </a:solidFill>
                <a:latin typeface="DINPro-Black" panose="02000503030000020004" pitchFamily="50" charset="0"/>
              </a:rPr>
              <a:t>Красноярск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, июнь 2022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								</a:t>
            </a:r>
          </a:p>
        </p:txBody>
      </p:sp>
      <p:pic>
        <p:nvPicPr>
          <p:cNvPr id="13" name="Рисунок 12" descr="Изображение выглядит как человек, внешний&#10;&#10;Автоматически созданное описание">
            <a:extLst>
              <a:ext uri="{FF2B5EF4-FFF2-40B4-BE49-F238E27FC236}">
                <a16:creationId xmlns:a16="http://schemas.microsoft.com/office/drawing/2014/main" id="{93B4E3BC-985B-3A0D-C981-C7C4D34099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767" y="0"/>
            <a:ext cx="6357081" cy="420049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4DDBEE9-A96A-B76A-F027-C7E2DE75168C}"/>
              </a:ext>
            </a:extLst>
          </p:cNvPr>
          <p:cNvSpPr txBox="1"/>
          <p:nvPr/>
        </p:nvSpPr>
        <p:spPr>
          <a:xfrm>
            <a:off x="929390" y="434227"/>
            <a:ext cx="55913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ВУЧКОВИЧ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АЛЛА АЛЕКСАНДРОВНА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326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1417090" cy="14776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Прогнозирование и сопровождение изменений в организации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37" name="object 3">
            <a:extLst>
              <a:ext uri="{FF2B5EF4-FFF2-40B4-BE49-F238E27FC236}">
                <a16:creationId xmlns:a16="http://schemas.microsoft.com/office/drawing/2014/main" id="{23939DB5-AF9E-42CF-B823-C099D89084A3}"/>
              </a:ext>
            </a:extLst>
          </p:cNvPr>
          <p:cNvSpPr txBox="1"/>
          <p:nvPr/>
        </p:nvSpPr>
        <p:spPr>
          <a:xfrm>
            <a:off x="661731" y="1662312"/>
            <a:ext cx="9171817" cy="469403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defPPr>
              <a:defRPr lang="en-US"/>
            </a:defPPr>
            <a:lvl1pPr marL="285750" indent="-28575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DINPro-Regular" panose="02000503030000020004" pitchFamily="50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Proxima Nova Rg" panose="02000506030000020004" pitchFamily="50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Proxima Nova Rg" panose="02000506030000020004" pitchFamily="50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HR – </a:t>
            </a:r>
            <a:r>
              <a:rPr lang="ru-RU" sz="3200" b="1" dirty="0">
                <a:solidFill>
                  <a:srgbClr val="002060"/>
                </a:solidFill>
              </a:rPr>
              <a:t>часть экосистемы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правление компетенциями и талантами, карьерными траекториями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Аутсорсинг и </a:t>
            </a:r>
            <a:r>
              <a:rPr kumimoji="0" lang="ru-RU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аутстаффинг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200" b="1" dirty="0">
                <a:solidFill>
                  <a:srgbClr val="002060"/>
                </a:solidFill>
              </a:rPr>
              <a:t>Работа с большими данными, построение дорожных карт и планов действий на их основе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Формирование </a:t>
            </a:r>
            <a:r>
              <a:rPr lang="ru-RU" sz="3200" b="1" dirty="0">
                <a:solidFill>
                  <a:srgbClr val="002060"/>
                </a:solidFill>
              </a:rPr>
              <a:t>у сотрудников стратегического и критического мышления в качестве одной из основных компетенц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3200" b="1" dirty="0">
              <a:solidFill>
                <a:srgbClr val="002060"/>
              </a:solidFill>
            </a:endParaRPr>
          </a:p>
          <a:p>
            <a:pPr>
              <a:defRPr/>
            </a:pPr>
            <a:r>
              <a:rPr lang="ru-RU" sz="3200" b="1" i="1" u="sng" dirty="0">
                <a:solidFill>
                  <a:srgbClr val="002060"/>
                </a:solidFill>
              </a:rPr>
              <a:t>Компетенции</a:t>
            </a:r>
            <a:r>
              <a:rPr lang="ru-RU" sz="3200" b="1" i="1" dirty="0">
                <a:solidFill>
                  <a:srgbClr val="002060"/>
                </a:solidFill>
              </a:rPr>
              <a:t>:                                                                                                    стратегическое и критическое мышление,                                                                    управление талантами,                                                                                                           кросс-функциональные (юридические),                                           навыки коммуникаций и переговоров  </a:t>
            </a:r>
            <a:endParaRPr kumimoji="0" lang="ru-RU" sz="32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ru-RU" sz="3200" b="1" dirty="0">
              <a:solidFill>
                <a:srgbClr val="002060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3200" b="1" dirty="0">
              <a:solidFill>
                <a:srgbClr val="00206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7" name="Picture 2" descr="1011227104">
            <a:extLst>
              <a:ext uri="{FF2B5EF4-FFF2-40B4-BE49-F238E27FC236}">
                <a16:creationId xmlns:a16="http://schemas.microsoft.com/office/drawing/2014/main" id="{A9B82B88-D9FC-32C2-5FBA-4ECC25342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231" y="612570"/>
            <a:ext cx="1692114" cy="2595856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51ZOdZcSI+L">
            <a:extLst>
              <a:ext uri="{FF2B5EF4-FFF2-40B4-BE49-F238E27FC236}">
                <a16:creationId xmlns:a16="http://schemas.microsoft.com/office/drawing/2014/main" id="{992FC658-97AE-3556-07E0-4F5125985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1088" y="3933210"/>
            <a:ext cx="1721376" cy="2600266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1015410964">
            <a:extLst>
              <a:ext uri="{FF2B5EF4-FFF2-40B4-BE49-F238E27FC236}">
                <a16:creationId xmlns:a16="http://schemas.microsoft.com/office/drawing/2014/main" id="{1D4C7790-1DC5-553D-ED2C-B79E11EAE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9949" y="4408290"/>
            <a:ext cx="1692114" cy="244971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2165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1417090" cy="14776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4400" dirty="0">
              <a:solidFill>
                <a:prstClr val="black">
                  <a:lumMod val="85000"/>
                  <a:lumOff val="15000"/>
                </a:prstClr>
              </a:solidFill>
              <a:latin typeface="DINPro-Black" panose="02000503030000020004" pitchFamily="50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Развитие навыков. Обучение и развитие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37" name="object 3">
            <a:extLst>
              <a:ext uri="{FF2B5EF4-FFF2-40B4-BE49-F238E27FC236}">
                <a16:creationId xmlns:a16="http://schemas.microsoft.com/office/drawing/2014/main" id="{23939DB5-AF9E-42CF-B823-C099D89084A3}"/>
              </a:ext>
            </a:extLst>
          </p:cNvPr>
          <p:cNvSpPr txBox="1"/>
          <p:nvPr/>
        </p:nvSpPr>
        <p:spPr>
          <a:xfrm>
            <a:off x="544001" y="1662313"/>
            <a:ext cx="11284297" cy="4694037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defPPr>
              <a:defRPr lang="en-US"/>
            </a:defPPr>
            <a:lvl1pPr marL="285750" indent="-28575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DINPro-Regular" panose="02000503030000020004" pitchFamily="50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Proxima Nova Rg" panose="02000506030000020004" pitchFamily="50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Proxima Nova Rg" panose="02000506030000020004" pitchFamily="50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Современные методы и формы обучения (геймификация,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social learning,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BYOD, 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индивидуальные траектории)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Не забывать о мягких компетенциях (</a:t>
            </a:r>
            <a:r>
              <a:rPr kumimoji="0" lang="de-AT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Soft Skills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).                         Управление стрессом!!!!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200" b="1" dirty="0">
                <a:solidFill>
                  <a:srgbClr val="002060"/>
                </a:solidFill>
              </a:rPr>
              <a:t>Коучинг и </a:t>
            </a:r>
            <a:r>
              <a:rPr lang="ru-RU" sz="3200" b="1" dirty="0" err="1">
                <a:solidFill>
                  <a:srgbClr val="002060"/>
                </a:solidFill>
              </a:rPr>
              <a:t>менторинг</a:t>
            </a:r>
            <a:endParaRPr lang="ru-RU" sz="3200" b="1" dirty="0">
              <a:solidFill>
                <a:srgbClr val="002060"/>
              </a:solidFill>
            </a:endParaRPr>
          </a:p>
          <a:p>
            <a:pPr>
              <a:defRPr/>
            </a:pPr>
            <a:r>
              <a:rPr lang="ru-RU" sz="3200" b="1" i="1" u="sng" dirty="0">
                <a:solidFill>
                  <a:srgbClr val="002060"/>
                </a:solidFill>
              </a:rPr>
              <a:t>Компетенции</a:t>
            </a:r>
            <a:r>
              <a:rPr lang="ru-RU" sz="3200" b="1" i="1" dirty="0">
                <a:solidFill>
                  <a:srgbClr val="002060"/>
                </a:solidFill>
              </a:rPr>
              <a:t>:                                                                                                    управление стрессом,                                                                    цифровая управление распределенными командами                                                                                                     коучинг и </a:t>
            </a:r>
            <a:r>
              <a:rPr lang="ru-RU" sz="3200" b="1" i="1" dirty="0" err="1">
                <a:solidFill>
                  <a:srgbClr val="002060"/>
                </a:solidFill>
              </a:rPr>
              <a:t>менторинг</a:t>
            </a:r>
            <a:r>
              <a:rPr lang="ru-RU" sz="3200" b="1" i="1" dirty="0">
                <a:solidFill>
                  <a:srgbClr val="002060"/>
                </a:solidFill>
              </a:rPr>
              <a:t>                                                                             современные методы обучения</a:t>
            </a:r>
            <a:endParaRPr kumimoji="0" lang="ru-RU" sz="32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8" name="object 3">
            <a:extLst>
              <a:ext uri="{FF2B5EF4-FFF2-40B4-BE49-F238E27FC236}">
                <a16:creationId xmlns:a16="http://schemas.microsoft.com/office/drawing/2014/main" id="{CC74C8B7-FB56-FC65-F8BE-E9FA4D1596ED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064708" y="3807502"/>
            <a:ext cx="4127291" cy="305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0901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0A208E-4804-4FA1-9214-C835DFF3E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11" y="365125"/>
            <a:ext cx="10968789" cy="1325563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accent4"/>
                </a:solidFill>
              </a:rPr>
              <a:t>Влияние </a:t>
            </a:r>
            <a:r>
              <a:rPr lang="en-US" sz="3600" b="1" dirty="0">
                <a:solidFill>
                  <a:schemeClr val="accent4"/>
                </a:solidFill>
              </a:rPr>
              <a:t>COVID 19 </a:t>
            </a:r>
            <a:r>
              <a:rPr lang="ru-RU" sz="3600" b="1" dirty="0">
                <a:solidFill>
                  <a:schemeClr val="accent4"/>
                </a:solidFill>
              </a:rPr>
              <a:t>на корпоративное обучение</a:t>
            </a:r>
            <a:br>
              <a:rPr lang="ru-RU" sz="3600" b="1" dirty="0">
                <a:solidFill>
                  <a:schemeClr val="accent4"/>
                </a:solidFill>
              </a:rPr>
            </a:br>
            <a:r>
              <a:rPr lang="ru-RU" sz="3600" b="1" dirty="0">
                <a:solidFill>
                  <a:schemeClr val="accent4"/>
                </a:solidFill>
              </a:rPr>
              <a:t>Наиболее востребованные </a:t>
            </a:r>
            <a:br>
              <a:rPr lang="ru-RU" sz="3600" b="1" dirty="0">
                <a:solidFill>
                  <a:schemeClr val="accent4"/>
                </a:solidFill>
              </a:rPr>
            </a:br>
            <a:r>
              <a:rPr lang="ru-RU" sz="3600" b="1" dirty="0">
                <a:solidFill>
                  <a:schemeClr val="accent4"/>
                </a:solidFill>
              </a:rPr>
              <a:t>компетенции и программы</a:t>
            </a:r>
            <a:br>
              <a:rPr lang="ru-RU" sz="3600" b="1" dirty="0">
                <a:solidFill>
                  <a:schemeClr val="accent4"/>
                </a:solidFill>
              </a:rPr>
            </a:br>
            <a:endParaRPr lang="ru-RU" sz="3600" b="1" dirty="0">
              <a:solidFill>
                <a:schemeClr val="accent4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1C66340-557E-4718-B609-31DCD99BB4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80673"/>
            <a:ext cx="10824148" cy="4940802"/>
          </a:xfrm>
        </p:spPr>
        <p:txBody>
          <a:bodyPr>
            <a:normAutofit fontScale="85000" lnSpcReduction="20000"/>
          </a:bodyPr>
          <a:lstStyle/>
          <a:p>
            <a:endParaRPr lang="ru-RU" sz="3200" dirty="0"/>
          </a:p>
          <a:p>
            <a:r>
              <a:rPr lang="ru-RU" sz="3200" b="1" dirty="0"/>
              <a:t>Онлайн бизнес коммуникации</a:t>
            </a:r>
          </a:p>
          <a:p>
            <a:r>
              <a:rPr lang="ru-RU" sz="3200" b="1" dirty="0"/>
              <a:t>Самоорганизация и управление состоянием</a:t>
            </a:r>
          </a:p>
          <a:p>
            <a:r>
              <a:rPr lang="ru-RU" sz="3200" b="1" dirty="0"/>
              <a:t>Организация удаленной работы и задач</a:t>
            </a:r>
          </a:p>
          <a:p>
            <a:r>
              <a:rPr lang="ru-RU" sz="3200" b="1" dirty="0"/>
              <a:t>Управление распределенными командами</a:t>
            </a:r>
          </a:p>
          <a:p>
            <a:r>
              <a:rPr lang="ru-RU" sz="3200" b="1" dirty="0"/>
              <a:t>Программы психологической помощи и коучинга сотрудников</a:t>
            </a:r>
          </a:p>
          <a:p>
            <a:r>
              <a:rPr lang="ru-RU" sz="3200" b="1" dirty="0"/>
              <a:t>Специальные </a:t>
            </a:r>
            <a:r>
              <a:rPr lang="en-US" sz="3200" b="1" dirty="0"/>
              <a:t>HR </a:t>
            </a:r>
            <a:r>
              <a:rPr lang="ru-RU" sz="3200" b="1" dirty="0"/>
              <a:t>программы</a:t>
            </a:r>
            <a:endParaRPr lang="en-US" sz="3200" b="1" dirty="0"/>
          </a:p>
          <a:p>
            <a:r>
              <a:rPr lang="ru-RU" sz="3200" b="1" dirty="0"/>
              <a:t>Краткосрочные стратегические сессии</a:t>
            </a:r>
          </a:p>
          <a:p>
            <a:r>
              <a:rPr lang="ru-RU" sz="3200" b="1" dirty="0"/>
              <a:t>«Живое знание» – опыт проживания в кризисе </a:t>
            </a:r>
            <a:r>
              <a:rPr lang="en-US" sz="3200" b="1" dirty="0" err="1"/>
              <a:t>Covid</a:t>
            </a:r>
            <a:r>
              <a:rPr lang="en-US" sz="3200" b="1" dirty="0"/>
              <a:t> 19</a:t>
            </a:r>
            <a:endParaRPr lang="ru-RU" sz="3200" b="1" dirty="0"/>
          </a:p>
          <a:p>
            <a:r>
              <a:rPr lang="ru-RU" sz="3200" b="1" dirty="0"/>
              <a:t>Управление рисками. Только 16% компаний имели в реестре риск, схожий с </a:t>
            </a:r>
            <a:r>
              <a:rPr lang="en-US" sz="3200" b="1" dirty="0" err="1"/>
              <a:t>Covid</a:t>
            </a:r>
            <a:r>
              <a:rPr lang="en-US" sz="3200" b="1" dirty="0"/>
              <a:t> 19  (PWC 2020)</a:t>
            </a:r>
            <a:r>
              <a:rPr lang="ru-RU" sz="3200" b="1" dirty="0"/>
              <a:t>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2E0AB89-CD1E-4CD2-8DD3-816F8EE86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BC49-1B67-4826-A1F3-48AF839B00E7}" type="slidenum">
              <a:rPr lang="en-US" smtClean="0"/>
              <a:t>12</a:t>
            </a:fld>
            <a:endParaRPr lang="en-US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D08A36E8-3DD3-3FEF-DC0C-BCA7F7F5F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710" y="707661"/>
            <a:ext cx="4061279" cy="159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64400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24656" y="-179882"/>
            <a:ext cx="11436435" cy="18030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4400" dirty="0">
              <a:solidFill>
                <a:prstClr val="black">
                  <a:lumMod val="85000"/>
                  <a:lumOff val="15000"/>
                </a:prstClr>
              </a:solidFill>
              <a:latin typeface="DINPro-Black" panose="02000503030000020004" pitchFamily="50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Обслуживать сотрудников как клиентов с помощью цифровых услуг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37" name="object 3">
            <a:extLst>
              <a:ext uri="{FF2B5EF4-FFF2-40B4-BE49-F238E27FC236}">
                <a16:creationId xmlns:a16="http://schemas.microsoft.com/office/drawing/2014/main" id="{23939DB5-AF9E-42CF-B823-C099D89084A3}"/>
              </a:ext>
            </a:extLst>
          </p:cNvPr>
          <p:cNvSpPr txBox="1"/>
          <p:nvPr/>
        </p:nvSpPr>
        <p:spPr>
          <a:xfrm>
            <a:off x="661731" y="1662312"/>
            <a:ext cx="9171817" cy="519568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defPPr>
              <a:defRPr lang="en-US"/>
            </a:defPPr>
            <a:lvl1pPr marL="285750" indent="-28575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DINPro-Regular" panose="02000503030000020004" pitchFamily="50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Proxima Nova Rg" panose="02000506030000020004" pitchFamily="50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Proxima Nova Rg" panose="02000506030000020004" pitchFamily="50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200" b="1" dirty="0">
                <a:solidFill>
                  <a:srgbClr val="002060"/>
                </a:solidFill>
              </a:rPr>
              <a:t>HR – </a:t>
            </a:r>
            <a:r>
              <a:rPr lang="ru-RU" sz="3200" b="1" dirty="0">
                <a:solidFill>
                  <a:srgbClr val="002060"/>
                </a:solidFill>
              </a:rPr>
              <a:t>обслуживающая функц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200" b="1" dirty="0">
                <a:solidFill>
                  <a:srgbClr val="002060"/>
                </a:solidFill>
              </a:rPr>
              <a:t>HR </a:t>
            </a:r>
            <a:r>
              <a:rPr lang="ru-RU" sz="3200" b="1" dirty="0">
                <a:solidFill>
                  <a:srgbClr val="002060"/>
                </a:solidFill>
              </a:rPr>
              <a:t>обслуживает конкретный бизнес в конкретной отрасли, конкретного собственника и конкретную команду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200" b="1" dirty="0">
                <a:solidFill>
                  <a:srgbClr val="002060"/>
                </a:solidFill>
              </a:rPr>
              <a:t>В распоряжении имеет цифровые сервисы, облегчающие жизнь персоналу  в первую очередь, сокращающие   издержки и экономящие время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200" b="1" dirty="0">
                <a:solidFill>
                  <a:srgbClr val="002060"/>
                </a:solidFill>
              </a:rPr>
              <a:t>Цифровые сервисы помогают принимать     быстрые решения и прогнозировать              будущее</a:t>
            </a:r>
          </a:p>
          <a:p>
            <a:pPr>
              <a:defRPr/>
            </a:pPr>
            <a:r>
              <a:rPr lang="ru-RU" sz="3200" b="1" i="1" u="sng" dirty="0">
                <a:solidFill>
                  <a:srgbClr val="002060"/>
                </a:solidFill>
              </a:rPr>
              <a:t>Компетенции</a:t>
            </a:r>
            <a:r>
              <a:rPr lang="ru-RU" sz="3200" b="1" i="1" dirty="0">
                <a:solidFill>
                  <a:srgbClr val="002060"/>
                </a:solidFill>
              </a:rPr>
              <a:t>:                                                                                                    понимание бизнеса,                                                                                навыки работы с цифровыми сервисами                       </a:t>
            </a:r>
            <a:endParaRPr kumimoji="0" lang="ru-RU" sz="32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3200" b="1" dirty="0">
              <a:solidFill>
                <a:srgbClr val="002060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3200" b="1" dirty="0">
              <a:solidFill>
                <a:srgbClr val="002060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A88AF48-F86E-385F-1751-615744366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348" y="4160429"/>
            <a:ext cx="3949252" cy="263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22940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24656" y="-179882"/>
            <a:ext cx="11436435" cy="18030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4400" dirty="0">
              <a:solidFill>
                <a:prstClr val="black">
                  <a:lumMod val="85000"/>
                  <a:lumOff val="15000"/>
                </a:prstClr>
              </a:solidFill>
              <a:latin typeface="DINPro-Black" panose="02000503030000020004" pitchFamily="50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Работа с корпоративной культурой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37" name="object 3">
            <a:extLst>
              <a:ext uri="{FF2B5EF4-FFF2-40B4-BE49-F238E27FC236}">
                <a16:creationId xmlns:a16="http://schemas.microsoft.com/office/drawing/2014/main" id="{23939DB5-AF9E-42CF-B823-C099D89084A3}"/>
              </a:ext>
            </a:extLst>
          </p:cNvPr>
          <p:cNvSpPr txBox="1"/>
          <p:nvPr/>
        </p:nvSpPr>
        <p:spPr>
          <a:xfrm>
            <a:off x="661731" y="1662312"/>
            <a:ext cx="9171817" cy="469403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defPPr>
              <a:defRPr lang="en-US"/>
            </a:defPPr>
            <a:lvl1pPr marL="285750" indent="-28575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DINPro-Regular" panose="02000503030000020004" pitchFamily="50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Proxima Nova Rg" panose="02000506030000020004" pitchFamily="50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Proxima Nova Rg" panose="02000506030000020004" pitchFamily="50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200" b="1" dirty="0">
                <a:solidFill>
                  <a:srgbClr val="002060"/>
                </a:solidFill>
              </a:rPr>
              <a:t>Управление распределенными командами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остижение конкретных результатов управления эффективностью и производительностью в эпоху удаленки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200" b="1" dirty="0">
                <a:solidFill>
                  <a:srgbClr val="002060"/>
                </a:solidFill>
              </a:rPr>
              <a:t>Справедливая система вознаграждения и удержания сотрудников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нутренние коммуникации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200" b="1" dirty="0">
                <a:solidFill>
                  <a:srgbClr val="002060"/>
                </a:solidFill>
              </a:rPr>
              <a:t>Социально ответственный бизнес - </a:t>
            </a:r>
            <a:r>
              <a:rPr lang="en-US" sz="3200" b="1" dirty="0">
                <a:solidFill>
                  <a:srgbClr val="002060"/>
                </a:solidFill>
              </a:rPr>
              <a:t>ESG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Благополучие (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well being)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>
              <a:defRPr/>
            </a:pPr>
            <a:r>
              <a:rPr lang="ru-RU" sz="3200" b="1" i="1" u="sng" dirty="0">
                <a:solidFill>
                  <a:srgbClr val="002060"/>
                </a:solidFill>
              </a:rPr>
              <a:t>Компетенции</a:t>
            </a:r>
            <a:r>
              <a:rPr lang="ru-RU" sz="3200" b="1" i="1" dirty="0">
                <a:solidFill>
                  <a:srgbClr val="002060"/>
                </a:solidFill>
              </a:rPr>
              <a:t>:                                                                                                    все перечисленное как навык,                                                                                                                                                                           кросс-функциональные (</a:t>
            </a:r>
            <a:r>
              <a:rPr lang="en-US" sz="3200" b="1" i="1" dirty="0">
                <a:solidFill>
                  <a:srgbClr val="002060"/>
                </a:solidFill>
              </a:rPr>
              <a:t>PR</a:t>
            </a:r>
            <a:r>
              <a:rPr lang="ru-RU" sz="3200" b="1" i="1" dirty="0">
                <a:solidFill>
                  <a:srgbClr val="002060"/>
                </a:solidFill>
              </a:rPr>
              <a:t>),                                           </a:t>
            </a:r>
            <a:r>
              <a:rPr lang="ru-RU" sz="3200" b="1" i="1" dirty="0" err="1">
                <a:solidFill>
                  <a:srgbClr val="002060"/>
                </a:solidFill>
              </a:rPr>
              <a:t>пон</a:t>
            </a:r>
            <a:r>
              <a:rPr lang="ru-RU" sz="3200" b="1" i="1" dirty="0">
                <a:solidFill>
                  <a:srgbClr val="002060"/>
                </a:solidFill>
              </a:rPr>
              <a:t> </a:t>
            </a:r>
            <a:endParaRPr kumimoji="0" lang="ru-RU" sz="32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10C87FC-A0A2-58D3-266E-E3F7E9581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230" y="3621526"/>
            <a:ext cx="4139039" cy="302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 descr="Изображение выглядит как текст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37A178DA-F2D8-A63A-9099-2F63A08D0E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8630" y="358815"/>
            <a:ext cx="2279668" cy="322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22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D0B0235-1166-E6C0-822F-51FAA6FEB4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713" y="122464"/>
            <a:ext cx="11729155" cy="659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0039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3" name="Прямоугольник 232">
            <a:extLst>
              <a:ext uri="{FF2B5EF4-FFF2-40B4-BE49-F238E27FC236}">
                <a16:creationId xmlns:a16="http://schemas.microsoft.com/office/drawing/2014/main" id="{DC9B17CA-0CD1-4E45-B964-4F72135ADB6D}"/>
              </a:ext>
            </a:extLst>
          </p:cNvPr>
          <p:cNvSpPr/>
          <p:nvPr/>
        </p:nvSpPr>
        <p:spPr>
          <a:xfrm>
            <a:off x="544001" y="1057197"/>
            <a:ext cx="11669487" cy="4617992"/>
          </a:xfrm>
          <a:custGeom>
            <a:avLst/>
            <a:gdLst>
              <a:gd name="connsiteX0" fmla="*/ 0 w 11502856"/>
              <a:gd name="connsiteY0" fmla="*/ 0 h 3614057"/>
              <a:gd name="connsiteX1" fmla="*/ 11502856 w 11502856"/>
              <a:gd name="connsiteY1" fmla="*/ 0 h 3614057"/>
              <a:gd name="connsiteX2" fmla="*/ 11502856 w 11502856"/>
              <a:gd name="connsiteY2" fmla="*/ 3614057 h 3614057"/>
              <a:gd name="connsiteX3" fmla="*/ 0 w 11502856"/>
              <a:gd name="connsiteY3" fmla="*/ 3614057 h 3614057"/>
              <a:gd name="connsiteX4" fmla="*/ 0 w 11502856"/>
              <a:gd name="connsiteY4" fmla="*/ 0 h 3614057"/>
              <a:gd name="connsiteX0" fmla="*/ 87086 w 11502856"/>
              <a:gd name="connsiteY0" fmla="*/ 0 h 3614057"/>
              <a:gd name="connsiteX1" fmla="*/ 11502856 w 11502856"/>
              <a:gd name="connsiteY1" fmla="*/ 0 h 3614057"/>
              <a:gd name="connsiteX2" fmla="*/ 11502856 w 11502856"/>
              <a:gd name="connsiteY2" fmla="*/ 3614057 h 3614057"/>
              <a:gd name="connsiteX3" fmla="*/ 0 w 11502856"/>
              <a:gd name="connsiteY3" fmla="*/ 3614057 h 3614057"/>
              <a:gd name="connsiteX4" fmla="*/ 87086 w 11502856"/>
              <a:gd name="connsiteY4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21487 w 11524343"/>
              <a:gd name="connsiteY3" fmla="*/ 3614057 h 3614057"/>
              <a:gd name="connsiteX4" fmla="*/ 0 w 11524343"/>
              <a:gd name="connsiteY4" fmla="*/ 3091544 h 3614057"/>
              <a:gd name="connsiteX5" fmla="*/ 108573 w 11524343"/>
              <a:gd name="connsiteY5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56000 h 3614057"/>
              <a:gd name="connsiteX4" fmla="*/ 0 w 11524343"/>
              <a:gd name="connsiteY4" fmla="*/ 3091544 h 3614057"/>
              <a:gd name="connsiteX5" fmla="*/ 108573 w 11524343"/>
              <a:gd name="connsiteY5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99543 h 3614057"/>
              <a:gd name="connsiteX4" fmla="*/ 0 w 11524343"/>
              <a:gd name="connsiteY4" fmla="*/ 3091544 h 3614057"/>
              <a:gd name="connsiteX5" fmla="*/ 108573 w 11524343"/>
              <a:gd name="connsiteY5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99543 h 3614057"/>
              <a:gd name="connsiteX4" fmla="*/ 81301 w 11524343"/>
              <a:gd name="connsiteY4" fmla="*/ 3364140 h 3614057"/>
              <a:gd name="connsiteX5" fmla="*/ 0 w 11524343"/>
              <a:gd name="connsiteY5" fmla="*/ 3091544 h 3614057"/>
              <a:gd name="connsiteX6" fmla="*/ 108573 w 11524343"/>
              <a:gd name="connsiteY6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99543 h 3614057"/>
              <a:gd name="connsiteX4" fmla="*/ 175366 w 11524343"/>
              <a:gd name="connsiteY4" fmla="*/ 3359378 h 3614057"/>
              <a:gd name="connsiteX5" fmla="*/ 0 w 11524343"/>
              <a:gd name="connsiteY5" fmla="*/ 3091544 h 3614057"/>
              <a:gd name="connsiteX6" fmla="*/ 108573 w 11524343"/>
              <a:gd name="connsiteY6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237179 w 11524343"/>
              <a:gd name="connsiteY3" fmla="*/ 3599543 h 3614057"/>
              <a:gd name="connsiteX4" fmla="*/ 175366 w 11524343"/>
              <a:gd name="connsiteY4" fmla="*/ 3359378 h 3614057"/>
              <a:gd name="connsiteX5" fmla="*/ 0 w 11524343"/>
              <a:gd name="connsiteY5" fmla="*/ 3091544 h 3614057"/>
              <a:gd name="connsiteX6" fmla="*/ 108573 w 11524343"/>
              <a:gd name="connsiteY6" fmla="*/ 0 h 361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24343" h="3614057">
                <a:moveTo>
                  <a:pt x="108573" y="0"/>
                </a:moveTo>
                <a:lnTo>
                  <a:pt x="11524343" y="0"/>
                </a:lnTo>
                <a:lnTo>
                  <a:pt x="11524343" y="3614057"/>
                </a:lnTo>
                <a:lnTo>
                  <a:pt x="237179" y="3599543"/>
                </a:lnTo>
                <a:lnTo>
                  <a:pt x="175366" y="3359378"/>
                </a:lnTo>
                <a:lnTo>
                  <a:pt x="0" y="3091544"/>
                </a:lnTo>
                <a:lnTo>
                  <a:pt x="108573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3000">
                <a:srgbClr val="1D82AC"/>
              </a:gs>
              <a:gs pos="100000">
                <a:srgbClr val="004F8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32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0379637" cy="14776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Этапы трансформации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HR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05FD724C-2D96-495E-9E0A-58DA097743EB}"/>
              </a:ext>
            </a:extLst>
          </p:cNvPr>
          <p:cNvSpPr txBox="1"/>
          <p:nvPr/>
        </p:nvSpPr>
        <p:spPr>
          <a:xfrm>
            <a:off x="1302333" y="2293495"/>
            <a:ext cx="2253356" cy="2222340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prstClr val="white"/>
                </a:solidFill>
                <a:latin typeface="DINPro-Regular" panose="02000503030000020004" pitchFamily="50" charset="0"/>
              </a:rPr>
              <a:t>1.0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40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Качественнее,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 Быстрее, 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ешевле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EB81AF1-29F3-4070-874B-64CE3995A1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5" y="2555717"/>
            <a:ext cx="1270061" cy="373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5" name="object 7">
            <a:extLst>
              <a:ext uri="{FF2B5EF4-FFF2-40B4-BE49-F238E27FC236}">
                <a16:creationId xmlns:a16="http://schemas.microsoft.com/office/drawing/2014/main" id="{E004EDA5-7E21-4314-B48A-B3434AC78450}"/>
              </a:ext>
            </a:extLst>
          </p:cNvPr>
          <p:cNvSpPr txBox="1"/>
          <p:nvPr/>
        </p:nvSpPr>
        <p:spPr>
          <a:xfrm>
            <a:off x="3726379" y="2293495"/>
            <a:ext cx="2388975" cy="2145396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2.0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6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нимать бизнес и стать бизнес партнером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37" name="object 7">
            <a:extLst>
              <a:ext uri="{FF2B5EF4-FFF2-40B4-BE49-F238E27FC236}">
                <a16:creationId xmlns:a16="http://schemas.microsoft.com/office/drawing/2014/main" id="{E72D76C9-6D32-4332-9F48-814D4EC912F2}"/>
              </a:ext>
            </a:extLst>
          </p:cNvPr>
          <p:cNvSpPr txBox="1"/>
          <p:nvPr/>
        </p:nvSpPr>
        <p:spPr>
          <a:xfrm>
            <a:off x="6503446" y="2293495"/>
            <a:ext cx="2388975" cy="2046907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3.0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6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Сделать бизнес и функцию цифровым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38" name="object 7">
            <a:extLst>
              <a:ext uri="{FF2B5EF4-FFF2-40B4-BE49-F238E27FC236}">
                <a16:creationId xmlns:a16="http://schemas.microsoft.com/office/drawing/2014/main" id="{BF025919-CA64-4F35-B42D-BB200FB34329}"/>
              </a:ext>
            </a:extLst>
          </p:cNvPr>
          <p:cNvSpPr txBox="1"/>
          <p:nvPr/>
        </p:nvSpPr>
        <p:spPr>
          <a:xfrm>
            <a:off x="9280513" y="2441987"/>
            <a:ext cx="2875262" cy="2814488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4.0</a:t>
            </a:r>
            <a:endParaRPr lang="ru-RU" sz="1600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endParaRPr lang="ru-RU" sz="1600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Человек думает, роботы вкалывают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R="192405" lvl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tabLst>
                <a:tab pos="814069" algn="l"/>
                <a:tab pos="814705" algn="l"/>
              </a:tabLst>
              <a:defRPr/>
            </a:pPr>
            <a:r>
              <a:rPr lang="ru-RU" b="1" dirty="0">
                <a:solidFill>
                  <a:prstClr val="white"/>
                </a:solidFill>
                <a:latin typeface="DINPro-Regular" panose="02000503030000020004" pitchFamily="50" charset="0"/>
              </a:rPr>
              <a:t>- Управление стрессом</a:t>
            </a:r>
          </a:p>
          <a:p>
            <a:pPr marR="192405" lvl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tabLst>
                <a:tab pos="814069" algn="l"/>
                <a:tab pos="814705" algn="l"/>
              </a:tabLst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- Управление   эффективностью и производительностью</a:t>
            </a:r>
          </a:p>
          <a:p>
            <a:pPr marR="192405" lvl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tabLst>
                <a:tab pos="814069" algn="l"/>
                <a:tab pos="814705" algn="l"/>
              </a:tabLst>
              <a:defRPr/>
            </a:pPr>
            <a:r>
              <a:rPr lang="ru-RU" b="1" dirty="0">
                <a:solidFill>
                  <a:prstClr val="white"/>
                </a:solidFill>
                <a:latin typeface="DINPro-Regular" panose="02000503030000020004" pitchFamily="50" charset="0"/>
              </a:rPr>
              <a:t>- Понимание бизнеса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198D10-453D-3108-F79C-7AE91D0D2921}"/>
              </a:ext>
            </a:extLst>
          </p:cNvPr>
          <p:cNvSpPr txBox="1"/>
          <p:nvPr/>
        </p:nvSpPr>
        <p:spPr>
          <a:xfrm>
            <a:off x="1302333" y="6041985"/>
            <a:ext cx="98037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Вывод: нам нужен думающий и креативный </a:t>
            </a:r>
            <a:r>
              <a:rPr lang="en-US" sz="2400" b="1" dirty="0"/>
              <a:t>HR. </a:t>
            </a:r>
            <a:r>
              <a:rPr lang="ru-RU" sz="2400" b="1" dirty="0"/>
              <a:t>Сегодня как никогда)))</a:t>
            </a:r>
          </a:p>
        </p:txBody>
      </p:sp>
    </p:spTree>
    <p:extLst>
      <p:ext uri="{BB962C8B-B14F-4D97-AF65-F5344CB8AC3E}">
        <p14:creationId xmlns:p14="http://schemas.microsoft.com/office/powerpoint/2010/main" val="35111088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F11D6D1-272A-1836-0215-48F89EE95733}"/>
              </a:ext>
            </a:extLst>
          </p:cNvPr>
          <p:cNvSpPr txBox="1"/>
          <p:nvPr/>
        </p:nvSpPr>
        <p:spPr>
          <a:xfrm>
            <a:off x="2579427" y="1828799"/>
            <a:ext cx="81204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5400" b="1" dirty="0"/>
          </a:p>
          <a:p>
            <a:r>
              <a:rPr lang="ru-RU" sz="5400" b="1" dirty="0"/>
              <a:t>СПАСИБО ЗА ВНИМАНИЕ!</a:t>
            </a:r>
          </a:p>
          <a:p>
            <a:endParaRPr lang="ru-RU" sz="5400" b="1" dirty="0"/>
          </a:p>
          <a:p>
            <a:r>
              <a:rPr lang="en-US" sz="5400" b="1" dirty="0">
                <a:solidFill>
                  <a:srgbClr val="FF0000"/>
                </a:solidFill>
              </a:rPr>
              <a:t>a.vuchkovich@sovethr.ru</a:t>
            </a:r>
            <a:endParaRPr lang="ru-RU" sz="5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122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B53A2097-B4CF-4ACF-8BC7-0DCB77925E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B53A2097-B4CF-4ACF-8BC7-0DCB77925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27A8EE4E-6B2C-42A6-BCC8-7C0AF34EAFC6}"/>
              </a:ext>
            </a:extLst>
          </p:cNvPr>
          <p:cNvSpPr/>
          <p:nvPr/>
        </p:nvSpPr>
        <p:spPr>
          <a:xfrm>
            <a:off x="0" y="4457700"/>
            <a:ext cx="4876800" cy="2400300"/>
          </a:xfrm>
          <a:prstGeom prst="rect">
            <a:avLst/>
          </a:prstGeom>
          <a:solidFill>
            <a:srgbClr val="004F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335397F-47C2-45E0-930C-447028AACB75}"/>
              </a:ext>
            </a:extLst>
          </p:cNvPr>
          <p:cNvSpPr/>
          <p:nvPr/>
        </p:nvSpPr>
        <p:spPr>
          <a:xfrm>
            <a:off x="0" y="2341688"/>
            <a:ext cx="4876800" cy="2306512"/>
          </a:xfrm>
          <a:prstGeom prst="rect">
            <a:avLst/>
          </a:prstGeom>
          <a:solidFill>
            <a:schemeClr val="accent3"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C47CD81C-AF57-45E9-8709-0330CFFD1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250" y="4894179"/>
            <a:ext cx="899771" cy="89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DCA28-BF60-418A-8760-7FB4D845A3F9}"/>
              </a:ext>
            </a:extLst>
          </p:cNvPr>
          <p:cNvSpPr txBox="1">
            <a:spLocks/>
          </p:cNvSpPr>
          <p:nvPr/>
        </p:nvSpPr>
        <p:spPr>
          <a:xfrm>
            <a:off x="5073721" y="565877"/>
            <a:ext cx="6393467" cy="31018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D6FA9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Образование: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Московский государственный институт международных отношений МИД СССР, Institute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for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Personnel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&amp; Development (CIPD) в Лондоне.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 2021 году закончила программу МШУ Сколково «Лидеры как преподаватели»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ндидат экономических наук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D6FA9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Работа: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Семь отраслей, 20 лет в должности Заместителя генерального директора или Вице-президента по персоналу, члена Правления, члена Советов директоров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еподает в МШУ «Сколково», Высшей школе экономики, имеет многолетний опыт выступления на конференциях в форме коротких выступлений и мастер классов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DINPro-Regular" panose="02000503030000020004" pitchFamily="50" charset="0"/>
              </a:rPr>
              <a:t>Председатель Совета по профессиональным квалификациям в области управления персоналом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2081042C-D958-4DCA-8C74-AAC132C02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4202" b="92437" l="5882" r="89916">
                        <a14:foregroundMark x1="53221" y1="8824" x2="55742" y2="13445"/>
                        <a14:foregroundMark x1="52941" y1="4202" x2="55462" y2="4202"/>
                        <a14:foregroundMark x1="76471" y1="57983" x2="77871" y2="37815"/>
                        <a14:foregroundMark x1="74790" y1="78151" x2="78711" y2="33613"/>
                        <a14:foregroundMark x1="84314" y1="63025" x2="86835" y2="34034"/>
                        <a14:foregroundMark x1="83754" y1="73950" x2="85154" y2="59244"/>
                        <a14:foregroundMark x1="81793" y1="79412" x2="83193" y2="69748"/>
                        <a14:foregroundMark x1="86275" y1="31933" x2="85994" y2="37815"/>
                        <a14:foregroundMark x1="78992" y1="32773" x2="78711" y2="35714"/>
                        <a14:foregroundMark x1="78711" y1="31933" x2="77031" y2="33613"/>
                        <a14:foregroundMark x1="77031" y1="30252" x2="79832" y2="32773"/>
                        <a14:foregroundMark x1="67787" y1="52521" x2="65546" y2="78571"/>
                        <a14:foregroundMark x1="67507" y1="76471" x2="69748" y2="46218"/>
                        <a14:foregroundMark x1="60224" y1="50000" x2="56583" y2="87815"/>
                        <a14:foregroundMark x1="49860" y1="73529" x2="53782" y2="47059"/>
                        <a14:foregroundMark x1="50980" y1="51261" x2="50140" y2="66807"/>
                        <a14:foregroundMark x1="40336" y1="52521" x2="38936" y2="75210"/>
                        <a14:foregroundMark x1="37815" y1="79412" x2="39496" y2="64706"/>
                        <a14:foregroundMark x1="30532" y1="77311" x2="33053" y2="51261"/>
                        <a14:foregroundMark x1="6162" y1="72689" x2="10924" y2="37395"/>
                        <a14:foregroundMark x1="18487" y1="39496" x2="16527" y2="32773"/>
                        <a14:foregroundMark x1="16246" y1="69328" x2="12605" y2="76471"/>
                        <a14:foregroundMark x1="25770" y1="46639" x2="27451" y2="44958"/>
                        <a14:foregroundMark x1="21569" y1="73950" x2="21569" y2="79412"/>
                        <a14:foregroundMark x1="49580" y1="92017" x2="52101" y2="92437"/>
                        <a14:foregroundMark x1="46499" y1="47059" x2="45098" y2="483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4062" y="6064244"/>
            <a:ext cx="657445" cy="292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5766D53B-7711-45D2-AFB2-D3EF9DBC8B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41554" y="6081935"/>
            <a:ext cx="906417" cy="33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36B6B86B-1D66-4E8A-91FF-92690010E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41482" y="4958219"/>
            <a:ext cx="1081140" cy="771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>
            <a:extLst>
              <a:ext uri="{FF2B5EF4-FFF2-40B4-BE49-F238E27FC236}">
                <a16:creationId xmlns:a16="http://schemas.microsoft.com/office/drawing/2014/main" id="{7AC52497-591F-40D2-AF53-AADDCA516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615" y="4873224"/>
            <a:ext cx="1255573" cy="941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Логотип Uralsib (Уралсиб) / Банки и финансы / TopLogos.ru">
            <a:extLst>
              <a:ext uri="{FF2B5EF4-FFF2-40B4-BE49-F238E27FC236}">
                <a16:creationId xmlns:a16="http://schemas.microsoft.com/office/drawing/2014/main" id="{3CEDFBA7-F830-4474-AAA6-E073F3245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6364" b="90000" l="98" r="97559">
                        <a14:foregroundMark x1="38965" y1="72121" x2="38574" y2="69091"/>
                        <a14:foregroundMark x1="31445" y1="70000" x2="31445" y2="70000"/>
                        <a14:foregroundMark x1="69336" y1="63333" x2="69336" y2="63333"/>
                        <a14:foregroundMark x1="79492" y1="75758" x2="79492" y2="75758"/>
                        <a14:foregroundMark x1="91113" y1="63939" x2="91113" y2="63939"/>
                        <a14:foregroundMark x1="16211" y1="83030" x2="16211" y2="83030"/>
                        <a14:foregroundMark x1="10352" y1="88788" x2="10352" y2="88788"/>
                        <a14:foregroundMark x1="4492" y1="80909" x2="4492" y2="80909"/>
                        <a14:foregroundMark x1="1172" y1="55455" x2="195" y2="66970"/>
                        <a14:foregroundMark x1="66699" y1="73636" x2="64746" y2="69394"/>
                        <a14:foregroundMark x1="91211" y1="71212" x2="91016" y2="66364"/>
                        <a14:foregroundMark x1="95801" y1="56364" x2="97559" y2="55152"/>
                        <a14:foregroundMark x1="10352" y1="6364" x2="10352" y2="63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1204" y="6055507"/>
            <a:ext cx="906416" cy="292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FB66848A-89C7-496E-9074-FC3CC1B24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652" y="4952440"/>
            <a:ext cx="1172835" cy="7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E04247DB-36D0-4987-9581-683A30184A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016" y="4952632"/>
            <a:ext cx="853641" cy="782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 descr="Изображение выглядит как стол, стена, внутренний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AB93F41D-1267-48C8-982E-BBE5018E434E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29" b="35000"/>
          <a:stretch/>
        </p:blipFill>
        <p:spPr>
          <a:xfrm>
            <a:off x="0" y="0"/>
            <a:ext cx="4876800" cy="44577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C341CAA-866A-4451-BB74-AF9A3AA2969B}"/>
              </a:ext>
            </a:extLst>
          </p:cNvPr>
          <p:cNvSpPr/>
          <p:nvPr/>
        </p:nvSpPr>
        <p:spPr>
          <a:xfrm>
            <a:off x="0" y="0"/>
            <a:ext cx="4876800" cy="4457700"/>
          </a:xfrm>
          <a:prstGeom prst="rect">
            <a:avLst/>
          </a:prstGeom>
          <a:gradFill>
            <a:gsLst>
              <a:gs pos="0">
                <a:srgbClr val="004F87">
                  <a:alpha val="52000"/>
                </a:srgbClr>
              </a:gs>
              <a:gs pos="100000">
                <a:schemeClr val="accent3">
                  <a:lumMod val="60000"/>
                  <a:lumOff val="40000"/>
                  <a:alpha val="4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98464F-E560-42EC-A8A9-3767B048E34E}"/>
              </a:ext>
            </a:extLst>
          </p:cNvPr>
          <p:cNvSpPr txBox="1">
            <a:spLocks/>
          </p:cNvSpPr>
          <p:nvPr/>
        </p:nvSpPr>
        <p:spPr>
          <a:xfrm>
            <a:off x="404823" y="4741213"/>
            <a:ext cx="4643427" cy="95112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Вучкович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Алла Александровна</a:t>
            </a: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BF43F4BC-89BB-49F9-A4C5-5A51F5C02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996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0379637" cy="8164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Будет ли существовать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HR </a:t>
            </a: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функция?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59D63A3-2CA2-420B-84DD-97032DDE8D56}"/>
              </a:ext>
            </a:extLst>
          </p:cNvPr>
          <p:cNvSpPr txBox="1">
            <a:spLocks/>
          </p:cNvSpPr>
          <p:nvPr/>
        </p:nvSpPr>
        <p:spPr>
          <a:xfrm>
            <a:off x="13595278" y="-170980"/>
            <a:ext cx="7476048" cy="34301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узнаете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чему наставничество так важ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ля лидер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будете чувствовать себ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вереннее в роли спикера и преподавател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, поймете значение вашей экспертизы и опыта для други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иоткроете горизонты вашей дальнейшей карьеры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к лидера, поняв, как вам могут помочь опыт обучения, в том числе и ваших подчиненны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 итогам программы 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разработаете дизайн вашей собственной обучающей программы</a:t>
            </a: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A808224E-202D-4AAE-9D34-E3BBE5B6E5BD}"/>
              </a:ext>
            </a:extLst>
          </p:cNvPr>
          <p:cNvSpPr txBox="1">
            <a:spLocks/>
          </p:cNvSpPr>
          <p:nvPr/>
        </p:nvSpPr>
        <p:spPr>
          <a:xfrm>
            <a:off x="544001" y="2886218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F11BBE81-105B-487B-ABD5-3022ED3336E4}"/>
              </a:ext>
            </a:extLst>
          </p:cNvPr>
          <p:cNvSpPr txBox="1">
            <a:spLocks/>
          </p:cNvSpPr>
          <p:nvPr/>
        </p:nvSpPr>
        <p:spPr>
          <a:xfrm>
            <a:off x="544001" y="4579911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C7EE4-926C-97E2-BE1E-3C7E30565F58}"/>
              </a:ext>
            </a:extLst>
          </p:cNvPr>
          <p:cNvSpPr txBox="1"/>
          <p:nvPr/>
        </p:nvSpPr>
        <p:spPr>
          <a:xfrm>
            <a:off x="1334125" y="1544082"/>
            <a:ext cx="1031387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i="1" dirty="0">
                <a:solidFill>
                  <a:schemeClr val="accent4">
                    <a:lumMod val="50000"/>
                  </a:schemeClr>
                </a:solidFill>
              </a:rPr>
              <a:t>HR </a:t>
            </a:r>
            <a:r>
              <a:rPr lang="ru-RU" sz="3600" b="1" i="1" dirty="0">
                <a:solidFill>
                  <a:schemeClr val="accent4">
                    <a:lumMod val="50000"/>
                  </a:schemeClr>
                </a:solidFill>
              </a:rPr>
              <a:t>тенденции 2022 года (популярный </a:t>
            </a:r>
            <a:r>
              <a:rPr lang="en-US" sz="3600" b="1" i="1" dirty="0">
                <a:solidFill>
                  <a:schemeClr val="accent4">
                    <a:lumMod val="50000"/>
                  </a:schemeClr>
                </a:solidFill>
              </a:rPr>
              <a:t>HR</a:t>
            </a:r>
            <a:r>
              <a:rPr lang="ru-RU" sz="3600" b="1" i="1" dirty="0">
                <a:solidFill>
                  <a:schemeClr val="accent4">
                    <a:lumMod val="50000"/>
                  </a:schemeClr>
                </a:solidFill>
              </a:rPr>
              <a:t> сайт)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Повышение вовлеченности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Переход от кадров к талантам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Оптимизация рабочих мест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Необходимость в рабочей силе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Новый взгляд на зарплату</a:t>
            </a:r>
          </a:p>
          <a:p>
            <a:pPr marL="285750" indent="-285750">
              <a:buFontTx/>
              <a:buChar char="-"/>
            </a:pPr>
            <a:endParaRPr lang="ru-RU" sz="3600" b="1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ru-RU" sz="3600" b="1" dirty="0">
                <a:solidFill>
                  <a:srgbClr val="FF0000"/>
                </a:solidFill>
              </a:rPr>
              <a:t>Вывод</a:t>
            </a: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: Да, будет</a:t>
            </a:r>
            <a:endParaRPr lang="ru-RU" sz="3600" dirty="0"/>
          </a:p>
          <a:p>
            <a:r>
              <a:rPr lang="ru-RU" sz="3600" b="1" dirty="0">
                <a:solidFill>
                  <a:srgbClr val="FF0000"/>
                </a:solidFill>
              </a:rPr>
              <a:t>Вопрос: </a:t>
            </a:r>
            <a:r>
              <a:rPr lang="ru-RU" sz="3600" b="1" dirty="0">
                <a:solidFill>
                  <a:srgbClr val="002060"/>
                </a:solidFill>
              </a:rPr>
              <a:t>А что, собственно, нового?</a:t>
            </a:r>
          </a:p>
        </p:txBody>
      </p:sp>
    </p:spTree>
    <p:extLst>
      <p:ext uri="{BB962C8B-B14F-4D97-AF65-F5344CB8AC3E}">
        <p14:creationId xmlns:p14="http://schemas.microsoft.com/office/powerpoint/2010/main" val="653927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3" name="Прямоугольник 232">
            <a:extLst>
              <a:ext uri="{FF2B5EF4-FFF2-40B4-BE49-F238E27FC236}">
                <a16:creationId xmlns:a16="http://schemas.microsoft.com/office/drawing/2014/main" id="{DC9B17CA-0CD1-4E45-B964-4F72135ADB6D}"/>
              </a:ext>
            </a:extLst>
          </p:cNvPr>
          <p:cNvSpPr/>
          <p:nvPr/>
        </p:nvSpPr>
        <p:spPr>
          <a:xfrm>
            <a:off x="522513" y="1623151"/>
            <a:ext cx="11669487" cy="4617992"/>
          </a:xfrm>
          <a:custGeom>
            <a:avLst/>
            <a:gdLst>
              <a:gd name="connsiteX0" fmla="*/ 0 w 11502856"/>
              <a:gd name="connsiteY0" fmla="*/ 0 h 3614057"/>
              <a:gd name="connsiteX1" fmla="*/ 11502856 w 11502856"/>
              <a:gd name="connsiteY1" fmla="*/ 0 h 3614057"/>
              <a:gd name="connsiteX2" fmla="*/ 11502856 w 11502856"/>
              <a:gd name="connsiteY2" fmla="*/ 3614057 h 3614057"/>
              <a:gd name="connsiteX3" fmla="*/ 0 w 11502856"/>
              <a:gd name="connsiteY3" fmla="*/ 3614057 h 3614057"/>
              <a:gd name="connsiteX4" fmla="*/ 0 w 11502856"/>
              <a:gd name="connsiteY4" fmla="*/ 0 h 3614057"/>
              <a:gd name="connsiteX0" fmla="*/ 87086 w 11502856"/>
              <a:gd name="connsiteY0" fmla="*/ 0 h 3614057"/>
              <a:gd name="connsiteX1" fmla="*/ 11502856 w 11502856"/>
              <a:gd name="connsiteY1" fmla="*/ 0 h 3614057"/>
              <a:gd name="connsiteX2" fmla="*/ 11502856 w 11502856"/>
              <a:gd name="connsiteY2" fmla="*/ 3614057 h 3614057"/>
              <a:gd name="connsiteX3" fmla="*/ 0 w 11502856"/>
              <a:gd name="connsiteY3" fmla="*/ 3614057 h 3614057"/>
              <a:gd name="connsiteX4" fmla="*/ 87086 w 11502856"/>
              <a:gd name="connsiteY4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21487 w 11524343"/>
              <a:gd name="connsiteY3" fmla="*/ 3614057 h 3614057"/>
              <a:gd name="connsiteX4" fmla="*/ 0 w 11524343"/>
              <a:gd name="connsiteY4" fmla="*/ 3091544 h 3614057"/>
              <a:gd name="connsiteX5" fmla="*/ 108573 w 11524343"/>
              <a:gd name="connsiteY5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56000 h 3614057"/>
              <a:gd name="connsiteX4" fmla="*/ 0 w 11524343"/>
              <a:gd name="connsiteY4" fmla="*/ 3091544 h 3614057"/>
              <a:gd name="connsiteX5" fmla="*/ 108573 w 11524343"/>
              <a:gd name="connsiteY5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99543 h 3614057"/>
              <a:gd name="connsiteX4" fmla="*/ 0 w 11524343"/>
              <a:gd name="connsiteY4" fmla="*/ 3091544 h 3614057"/>
              <a:gd name="connsiteX5" fmla="*/ 108573 w 11524343"/>
              <a:gd name="connsiteY5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99543 h 3614057"/>
              <a:gd name="connsiteX4" fmla="*/ 81301 w 11524343"/>
              <a:gd name="connsiteY4" fmla="*/ 3364140 h 3614057"/>
              <a:gd name="connsiteX5" fmla="*/ 0 w 11524343"/>
              <a:gd name="connsiteY5" fmla="*/ 3091544 h 3614057"/>
              <a:gd name="connsiteX6" fmla="*/ 108573 w 11524343"/>
              <a:gd name="connsiteY6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166630 w 11524343"/>
              <a:gd name="connsiteY3" fmla="*/ 3599543 h 3614057"/>
              <a:gd name="connsiteX4" fmla="*/ 175366 w 11524343"/>
              <a:gd name="connsiteY4" fmla="*/ 3359378 h 3614057"/>
              <a:gd name="connsiteX5" fmla="*/ 0 w 11524343"/>
              <a:gd name="connsiteY5" fmla="*/ 3091544 h 3614057"/>
              <a:gd name="connsiteX6" fmla="*/ 108573 w 11524343"/>
              <a:gd name="connsiteY6" fmla="*/ 0 h 3614057"/>
              <a:gd name="connsiteX0" fmla="*/ 108573 w 11524343"/>
              <a:gd name="connsiteY0" fmla="*/ 0 h 3614057"/>
              <a:gd name="connsiteX1" fmla="*/ 11524343 w 11524343"/>
              <a:gd name="connsiteY1" fmla="*/ 0 h 3614057"/>
              <a:gd name="connsiteX2" fmla="*/ 11524343 w 11524343"/>
              <a:gd name="connsiteY2" fmla="*/ 3614057 h 3614057"/>
              <a:gd name="connsiteX3" fmla="*/ 237179 w 11524343"/>
              <a:gd name="connsiteY3" fmla="*/ 3599543 h 3614057"/>
              <a:gd name="connsiteX4" fmla="*/ 175366 w 11524343"/>
              <a:gd name="connsiteY4" fmla="*/ 3359378 h 3614057"/>
              <a:gd name="connsiteX5" fmla="*/ 0 w 11524343"/>
              <a:gd name="connsiteY5" fmla="*/ 3091544 h 3614057"/>
              <a:gd name="connsiteX6" fmla="*/ 108573 w 11524343"/>
              <a:gd name="connsiteY6" fmla="*/ 0 h 361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24343" h="3614057">
                <a:moveTo>
                  <a:pt x="108573" y="0"/>
                </a:moveTo>
                <a:lnTo>
                  <a:pt x="11524343" y="0"/>
                </a:lnTo>
                <a:lnTo>
                  <a:pt x="11524343" y="3614057"/>
                </a:lnTo>
                <a:lnTo>
                  <a:pt x="237179" y="3599543"/>
                </a:lnTo>
                <a:lnTo>
                  <a:pt x="175366" y="3359378"/>
                </a:lnTo>
                <a:lnTo>
                  <a:pt x="0" y="3091544"/>
                </a:lnTo>
                <a:lnTo>
                  <a:pt x="108573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3000">
                <a:srgbClr val="1D82AC"/>
              </a:gs>
              <a:gs pos="100000">
                <a:srgbClr val="004F8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32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0379637" cy="14776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Этапы трансформации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HR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59D63A3-2CA2-420B-84DD-97032DDE8D56}"/>
              </a:ext>
            </a:extLst>
          </p:cNvPr>
          <p:cNvSpPr txBox="1">
            <a:spLocks/>
          </p:cNvSpPr>
          <p:nvPr/>
        </p:nvSpPr>
        <p:spPr>
          <a:xfrm>
            <a:off x="13595278" y="-170980"/>
            <a:ext cx="7476048" cy="34301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узнаете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чему наставничество так важ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ля лидер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будете чувствовать себ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вереннее в роли спикера и преподавател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, поймете значение вашей экспертизы и опыта для други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иоткроете горизонты вашей дальнейшей карьеры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к лидера, поняв, как вам могут помочь опыт обучения, в том числе и ваших подчиненны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 итогам программы 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разработаете дизайн вашей собственной обучающей программы</a:t>
            </a: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05FD724C-2D96-495E-9E0A-58DA097743EB}"/>
              </a:ext>
            </a:extLst>
          </p:cNvPr>
          <p:cNvSpPr txBox="1"/>
          <p:nvPr/>
        </p:nvSpPr>
        <p:spPr>
          <a:xfrm>
            <a:off x="1302333" y="2293495"/>
            <a:ext cx="2253356" cy="2967159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prstClr val="white"/>
                </a:solidFill>
                <a:latin typeface="DINPro-Regular" panose="02000503030000020004" pitchFamily="50" charset="0"/>
              </a:rPr>
              <a:t>1.0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40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Качественнее,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 Быстрее, 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ешевле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(90-е </a:t>
            </a:r>
            <a:r>
              <a:rPr lang="ru-RU" sz="2400" b="1" dirty="0" err="1">
                <a:solidFill>
                  <a:prstClr val="white"/>
                </a:solidFill>
                <a:latin typeface="DINPro-Regular" panose="02000503030000020004" pitchFamily="50" charset="0"/>
              </a:rPr>
              <a:t>гг</a:t>
            </a: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EB81AF1-29F3-4070-874B-64CE3995A1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5" y="2555717"/>
            <a:ext cx="1270061" cy="373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5" name="object 7">
            <a:extLst>
              <a:ext uri="{FF2B5EF4-FFF2-40B4-BE49-F238E27FC236}">
                <a16:creationId xmlns:a16="http://schemas.microsoft.com/office/drawing/2014/main" id="{E004EDA5-7E21-4314-B48A-B3434AC78450}"/>
              </a:ext>
            </a:extLst>
          </p:cNvPr>
          <p:cNvSpPr txBox="1"/>
          <p:nvPr/>
        </p:nvSpPr>
        <p:spPr>
          <a:xfrm>
            <a:off x="3726379" y="2293495"/>
            <a:ext cx="2388975" cy="2517805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2.0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6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нимать бизнес и стать бизнес партнером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(2000-е </a:t>
            </a:r>
            <a:r>
              <a:rPr lang="ru-RU" sz="2400" b="1" dirty="0" err="1">
                <a:solidFill>
                  <a:prstClr val="white"/>
                </a:solidFill>
                <a:latin typeface="DINPro-Regular" panose="02000503030000020004" pitchFamily="50" charset="0"/>
              </a:rPr>
              <a:t>гг</a:t>
            </a: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)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37" name="object 7">
            <a:extLst>
              <a:ext uri="{FF2B5EF4-FFF2-40B4-BE49-F238E27FC236}">
                <a16:creationId xmlns:a16="http://schemas.microsoft.com/office/drawing/2014/main" id="{E72D76C9-6D32-4332-9F48-814D4EC912F2}"/>
              </a:ext>
            </a:extLst>
          </p:cNvPr>
          <p:cNvSpPr txBox="1"/>
          <p:nvPr/>
        </p:nvSpPr>
        <p:spPr>
          <a:xfrm>
            <a:off x="6503446" y="2293495"/>
            <a:ext cx="2388975" cy="2419317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3.0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600" b="1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Сделать бизнес и функцию цифровыми</a:t>
            </a:r>
          </a:p>
          <a:p>
            <a:pPr marL="12700" marR="0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DINPro-Regular" panose="02000503030000020004" pitchFamily="50" charset="0"/>
              </a:rPr>
              <a:t>(2010-н.вр.)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38" name="object 7">
            <a:extLst>
              <a:ext uri="{FF2B5EF4-FFF2-40B4-BE49-F238E27FC236}">
                <a16:creationId xmlns:a16="http://schemas.microsoft.com/office/drawing/2014/main" id="{BF025919-CA64-4F35-B42D-BB200FB34329}"/>
              </a:ext>
            </a:extLst>
          </p:cNvPr>
          <p:cNvSpPr txBox="1"/>
          <p:nvPr/>
        </p:nvSpPr>
        <p:spPr>
          <a:xfrm>
            <a:off x="9111727" y="2441987"/>
            <a:ext cx="2170882" cy="1931811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      4.0</a:t>
            </a:r>
            <a:endParaRPr lang="ru-RU" sz="1600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endParaRPr lang="ru-RU" sz="1600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endParaRPr lang="ru-RU" sz="1600" dirty="0">
              <a:solidFill>
                <a:prstClr val="white"/>
              </a:solidFill>
              <a:latin typeface="DINPro-Regular" panose="02000503030000020004" pitchFamily="50" charset="0"/>
            </a:endParaRPr>
          </a:p>
          <a:p>
            <a:pPr marL="0" marR="192405" lvl="0" indent="0" algn="l" defTabSz="4572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>
                <a:tab pos="814069" algn="l"/>
                <a:tab pos="814705" algn="l"/>
              </a:tabLst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       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?</a:t>
            </a: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05168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369814" y="1191259"/>
            <a:ext cx="5067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25" dirty="0">
                <a:solidFill>
                  <a:srgbClr val="2E5496"/>
                </a:solidFill>
                <a:latin typeface="Calibri"/>
                <a:cs typeface="Calibri"/>
              </a:rPr>
              <a:t>VS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24687" y="6488074"/>
            <a:ext cx="10223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Arial Black"/>
                <a:cs typeface="Arial Black"/>
              </a:rPr>
              <a:t>6</a:t>
            </a:r>
            <a:endParaRPr sz="9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843022" y="5738834"/>
            <a:ext cx="6320155" cy="962660"/>
          </a:xfrm>
          <a:prstGeom prst="rect">
            <a:avLst/>
          </a:prstGeom>
        </p:spPr>
        <p:txBody>
          <a:bodyPr vert="horz" wrap="square" lIns="0" tIns="1155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10"/>
              </a:spcBef>
            </a:pP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VUCA</a:t>
            </a:r>
            <a:r>
              <a:rPr sz="2400" spc="-4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volatility</a:t>
            </a:r>
            <a:r>
              <a:rPr sz="2400" spc="-30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,</a:t>
            </a:r>
            <a:r>
              <a:rPr sz="2400" spc="-30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20" dirty="0">
                <a:solidFill>
                  <a:srgbClr val="333333"/>
                </a:solidFill>
                <a:latin typeface="Calibri"/>
                <a:cs typeface="Calibri"/>
              </a:rPr>
              <a:t>uncertainty,</a:t>
            </a:r>
            <a:r>
              <a:rPr sz="2400" spc="-5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20" dirty="0">
                <a:solidFill>
                  <a:srgbClr val="333333"/>
                </a:solidFill>
                <a:latin typeface="Calibri"/>
                <a:cs typeface="Calibri"/>
              </a:rPr>
              <a:t>complexity,</a:t>
            </a:r>
            <a:r>
              <a:rPr sz="2400" spc="-60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333333"/>
                </a:solidFill>
                <a:latin typeface="Calibri"/>
                <a:cs typeface="Calibri"/>
              </a:rPr>
              <a:t>ambiguity</a:t>
            </a:r>
            <a:endParaRPr sz="2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05"/>
              </a:spcBef>
            </a:pP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BANI</a:t>
            </a:r>
            <a:r>
              <a:rPr sz="2400" spc="-7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brittle,</a:t>
            </a:r>
            <a:r>
              <a:rPr sz="2400" spc="-5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anxious,</a:t>
            </a:r>
            <a:r>
              <a:rPr sz="2400" spc="-4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20" dirty="0">
                <a:solidFill>
                  <a:srgbClr val="333333"/>
                </a:solidFill>
                <a:latin typeface="Calibri"/>
                <a:cs typeface="Calibri"/>
              </a:rPr>
              <a:t>nonlinear,</a:t>
            </a:r>
            <a:r>
              <a:rPr sz="2400" spc="-3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333333"/>
                </a:solidFill>
                <a:latin typeface="Calibri"/>
                <a:cs typeface="Calibri"/>
              </a:rPr>
              <a:t>incomprehensibl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742187" y="2075688"/>
            <a:ext cx="4226560" cy="568960"/>
          </a:xfrm>
          <a:custGeom>
            <a:avLst/>
            <a:gdLst/>
            <a:ahLst/>
            <a:cxnLst/>
            <a:rect l="l" t="t" r="r" b="b"/>
            <a:pathLst>
              <a:path w="4226560" h="568960">
                <a:moveTo>
                  <a:pt x="4131310" y="0"/>
                </a:moveTo>
                <a:lnTo>
                  <a:pt x="94742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1"/>
                </a:lnTo>
                <a:lnTo>
                  <a:pt x="0" y="473710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2" y="568451"/>
                </a:lnTo>
                <a:lnTo>
                  <a:pt x="4131310" y="568451"/>
                </a:lnTo>
                <a:lnTo>
                  <a:pt x="4168187" y="561006"/>
                </a:lnTo>
                <a:lnTo>
                  <a:pt x="4198302" y="540702"/>
                </a:lnTo>
                <a:lnTo>
                  <a:pt x="4218606" y="510587"/>
                </a:lnTo>
                <a:lnTo>
                  <a:pt x="4226052" y="473710"/>
                </a:lnTo>
                <a:lnTo>
                  <a:pt x="4226052" y="94741"/>
                </a:lnTo>
                <a:lnTo>
                  <a:pt x="4218606" y="57864"/>
                </a:lnTo>
                <a:lnTo>
                  <a:pt x="4198302" y="27749"/>
                </a:lnTo>
                <a:lnTo>
                  <a:pt x="4168187" y="7445"/>
                </a:lnTo>
                <a:lnTo>
                  <a:pt x="4131310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848360" y="1191259"/>
            <a:ext cx="2040889" cy="13335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3290">
              <a:lnSpc>
                <a:spcPct val="100000"/>
              </a:lnSpc>
              <a:spcBef>
                <a:spcPts val="100"/>
              </a:spcBef>
            </a:pPr>
            <a:r>
              <a:rPr sz="3600" spc="60" dirty="0">
                <a:solidFill>
                  <a:srgbClr val="2E5496"/>
                </a:solidFill>
                <a:latin typeface="Calibri"/>
                <a:cs typeface="Calibri"/>
              </a:rPr>
              <a:t>VUCA</a:t>
            </a:r>
            <a:endParaRPr sz="3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95"/>
              </a:spcBef>
            </a:pPr>
            <a:r>
              <a:rPr sz="2400" spc="-325" dirty="0">
                <a:solidFill>
                  <a:srgbClr val="FFFFFF"/>
                </a:solidFill>
                <a:latin typeface="Trebuchet MS"/>
                <a:cs typeface="Trebuchet MS"/>
              </a:rPr>
              <a:t>Нестабильный</a:t>
            </a:r>
            <a:endParaRPr sz="2400" dirty="0">
              <a:latin typeface="Trebuchet MS"/>
              <a:cs typeface="Trebuchet M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42187" y="3107435"/>
            <a:ext cx="4226560" cy="570230"/>
          </a:xfrm>
          <a:custGeom>
            <a:avLst/>
            <a:gdLst/>
            <a:ahLst/>
            <a:cxnLst/>
            <a:rect l="l" t="t" r="r" b="b"/>
            <a:pathLst>
              <a:path w="4226560" h="570229">
                <a:moveTo>
                  <a:pt x="4131056" y="0"/>
                </a:moveTo>
                <a:lnTo>
                  <a:pt x="94996" y="0"/>
                </a:lnTo>
                <a:lnTo>
                  <a:pt x="58019" y="7467"/>
                </a:lnTo>
                <a:lnTo>
                  <a:pt x="27824" y="27828"/>
                </a:lnTo>
                <a:lnTo>
                  <a:pt x="7465" y="58025"/>
                </a:lnTo>
                <a:lnTo>
                  <a:pt x="0" y="94996"/>
                </a:lnTo>
                <a:lnTo>
                  <a:pt x="0" y="474979"/>
                </a:lnTo>
                <a:lnTo>
                  <a:pt x="7465" y="511950"/>
                </a:lnTo>
                <a:lnTo>
                  <a:pt x="27824" y="542147"/>
                </a:lnTo>
                <a:lnTo>
                  <a:pt x="58019" y="562508"/>
                </a:lnTo>
                <a:lnTo>
                  <a:pt x="94996" y="569976"/>
                </a:lnTo>
                <a:lnTo>
                  <a:pt x="4131056" y="569976"/>
                </a:lnTo>
                <a:lnTo>
                  <a:pt x="4168026" y="562508"/>
                </a:lnTo>
                <a:lnTo>
                  <a:pt x="4198223" y="542147"/>
                </a:lnTo>
                <a:lnTo>
                  <a:pt x="4218584" y="511950"/>
                </a:lnTo>
                <a:lnTo>
                  <a:pt x="4226052" y="474979"/>
                </a:lnTo>
                <a:lnTo>
                  <a:pt x="4226052" y="94996"/>
                </a:lnTo>
                <a:lnTo>
                  <a:pt x="4218584" y="58025"/>
                </a:lnTo>
                <a:lnTo>
                  <a:pt x="4198223" y="27828"/>
                </a:lnTo>
                <a:lnTo>
                  <a:pt x="4168026" y="7467"/>
                </a:lnTo>
                <a:lnTo>
                  <a:pt x="4131056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848360" y="3165424"/>
            <a:ext cx="188150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45" dirty="0">
                <a:solidFill>
                  <a:srgbClr val="FFFFFF"/>
                </a:solidFill>
                <a:latin typeface="Trebuchet MS"/>
                <a:cs typeface="Trebuchet MS"/>
              </a:rPr>
              <a:t>Неопределен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42187" y="4064508"/>
            <a:ext cx="4226560" cy="568960"/>
          </a:xfrm>
          <a:custGeom>
            <a:avLst/>
            <a:gdLst/>
            <a:ahLst/>
            <a:cxnLst/>
            <a:rect l="l" t="t" r="r" b="b"/>
            <a:pathLst>
              <a:path w="4226560" h="568960">
                <a:moveTo>
                  <a:pt x="4131310" y="0"/>
                </a:moveTo>
                <a:lnTo>
                  <a:pt x="94742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2"/>
                </a:lnTo>
                <a:lnTo>
                  <a:pt x="0" y="473710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2" y="568452"/>
                </a:lnTo>
                <a:lnTo>
                  <a:pt x="4131310" y="568452"/>
                </a:lnTo>
                <a:lnTo>
                  <a:pt x="4168187" y="561006"/>
                </a:lnTo>
                <a:lnTo>
                  <a:pt x="4198302" y="540702"/>
                </a:lnTo>
                <a:lnTo>
                  <a:pt x="4218606" y="510587"/>
                </a:lnTo>
                <a:lnTo>
                  <a:pt x="4226052" y="473710"/>
                </a:lnTo>
                <a:lnTo>
                  <a:pt x="4226052" y="94742"/>
                </a:lnTo>
                <a:lnTo>
                  <a:pt x="4218606" y="57864"/>
                </a:lnTo>
                <a:lnTo>
                  <a:pt x="4198302" y="27749"/>
                </a:lnTo>
                <a:lnTo>
                  <a:pt x="4168187" y="7445"/>
                </a:lnTo>
                <a:lnTo>
                  <a:pt x="4131310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42187" y="4864608"/>
            <a:ext cx="4226560" cy="570230"/>
          </a:xfrm>
          <a:custGeom>
            <a:avLst/>
            <a:gdLst/>
            <a:ahLst/>
            <a:cxnLst/>
            <a:rect l="l" t="t" r="r" b="b"/>
            <a:pathLst>
              <a:path w="4226560" h="570229">
                <a:moveTo>
                  <a:pt x="4131056" y="0"/>
                </a:moveTo>
                <a:lnTo>
                  <a:pt x="94996" y="0"/>
                </a:lnTo>
                <a:lnTo>
                  <a:pt x="58019" y="7467"/>
                </a:lnTo>
                <a:lnTo>
                  <a:pt x="27824" y="27828"/>
                </a:lnTo>
                <a:lnTo>
                  <a:pt x="7465" y="58025"/>
                </a:lnTo>
                <a:lnTo>
                  <a:pt x="0" y="94996"/>
                </a:lnTo>
                <a:lnTo>
                  <a:pt x="0" y="474980"/>
                </a:lnTo>
                <a:lnTo>
                  <a:pt x="7465" y="511950"/>
                </a:lnTo>
                <a:lnTo>
                  <a:pt x="27824" y="542147"/>
                </a:lnTo>
                <a:lnTo>
                  <a:pt x="58019" y="562508"/>
                </a:lnTo>
                <a:lnTo>
                  <a:pt x="94996" y="569976"/>
                </a:lnTo>
                <a:lnTo>
                  <a:pt x="4131056" y="569976"/>
                </a:lnTo>
                <a:lnTo>
                  <a:pt x="4168026" y="562508"/>
                </a:lnTo>
                <a:lnTo>
                  <a:pt x="4198223" y="542147"/>
                </a:lnTo>
                <a:lnTo>
                  <a:pt x="4218584" y="511950"/>
                </a:lnTo>
                <a:lnTo>
                  <a:pt x="4226052" y="474980"/>
                </a:lnTo>
                <a:lnTo>
                  <a:pt x="4226052" y="94996"/>
                </a:lnTo>
                <a:lnTo>
                  <a:pt x="4218584" y="58025"/>
                </a:lnTo>
                <a:lnTo>
                  <a:pt x="4198223" y="27828"/>
                </a:lnTo>
                <a:lnTo>
                  <a:pt x="4168026" y="7467"/>
                </a:lnTo>
                <a:lnTo>
                  <a:pt x="4131056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848360" y="4123182"/>
            <a:ext cx="1734185" cy="11925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50" dirty="0">
                <a:solidFill>
                  <a:srgbClr val="FFFFFF"/>
                </a:solidFill>
                <a:latin typeface="Trebuchet MS"/>
                <a:cs typeface="Trebuchet MS"/>
              </a:rPr>
              <a:t>Сложный</a:t>
            </a:r>
            <a:endParaRPr sz="2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29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2400" spc="-330" dirty="0">
                <a:solidFill>
                  <a:srgbClr val="FFFFFF"/>
                </a:solidFill>
                <a:latin typeface="Trebuchet MS"/>
                <a:cs typeface="Trebuchet MS"/>
              </a:rPr>
              <a:t>Неоднознач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793992" y="2040635"/>
            <a:ext cx="4227830" cy="568960"/>
          </a:xfrm>
          <a:custGeom>
            <a:avLst/>
            <a:gdLst/>
            <a:ahLst/>
            <a:cxnLst/>
            <a:rect l="l" t="t" r="r" b="b"/>
            <a:pathLst>
              <a:path w="4227830" h="568960">
                <a:moveTo>
                  <a:pt x="4132833" y="0"/>
                </a:moveTo>
                <a:lnTo>
                  <a:pt x="94741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1"/>
                </a:lnTo>
                <a:lnTo>
                  <a:pt x="0" y="473710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1" y="568451"/>
                </a:lnTo>
                <a:lnTo>
                  <a:pt x="4132833" y="568451"/>
                </a:lnTo>
                <a:lnTo>
                  <a:pt x="4169711" y="561006"/>
                </a:lnTo>
                <a:lnTo>
                  <a:pt x="4199826" y="540702"/>
                </a:lnTo>
                <a:lnTo>
                  <a:pt x="4220130" y="510587"/>
                </a:lnTo>
                <a:lnTo>
                  <a:pt x="4227576" y="473710"/>
                </a:lnTo>
                <a:lnTo>
                  <a:pt x="4227576" y="94741"/>
                </a:lnTo>
                <a:lnTo>
                  <a:pt x="4220130" y="57864"/>
                </a:lnTo>
                <a:lnTo>
                  <a:pt x="4199826" y="27749"/>
                </a:lnTo>
                <a:lnTo>
                  <a:pt x="4169711" y="7445"/>
                </a:lnTo>
                <a:lnTo>
                  <a:pt x="4132833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6901942" y="1191259"/>
            <a:ext cx="1611630" cy="12985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3730">
              <a:lnSpc>
                <a:spcPct val="100000"/>
              </a:lnSpc>
              <a:spcBef>
                <a:spcPts val="100"/>
              </a:spcBef>
            </a:pPr>
            <a:r>
              <a:rPr sz="3600" spc="55" dirty="0">
                <a:solidFill>
                  <a:srgbClr val="2E5496"/>
                </a:solidFill>
                <a:latin typeface="Calibri"/>
                <a:cs typeface="Calibri"/>
              </a:rPr>
              <a:t>BANI</a:t>
            </a:r>
            <a:endParaRPr sz="36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820"/>
              </a:spcBef>
            </a:pPr>
            <a:r>
              <a:rPr sz="2400" spc="-340" dirty="0">
                <a:solidFill>
                  <a:srgbClr val="FFFFFF"/>
                </a:solidFill>
                <a:latin typeface="Trebuchet MS"/>
                <a:cs typeface="Trebuchet MS"/>
              </a:rPr>
              <a:t>Хрупки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793992" y="3075432"/>
            <a:ext cx="4227830" cy="570230"/>
          </a:xfrm>
          <a:custGeom>
            <a:avLst/>
            <a:gdLst/>
            <a:ahLst/>
            <a:cxnLst/>
            <a:rect l="l" t="t" r="r" b="b"/>
            <a:pathLst>
              <a:path w="4227830" h="570229">
                <a:moveTo>
                  <a:pt x="4132579" y="0"/>
                </a:moveTo>
                <a:lnTo>
                  <a:pt x="94996" y="0"/>
                </a:lnTo>
                <a:lnTo>
                  <a:pt x="58025" y="7467"/>
                </a:lnTo>
                <a:lnTo>
                  <a:pt x="27828" y="27828"/>
                </a:lnTo>
                <a:lnTo>
                  <a:pt x="7467" y="58025"/>
                </a:lnTo>
                <a:lnTo>
                  <a:pt x="0" y="94995"/>
                </a:lnTo>
                <a:lnTo>
                  <a:pt x="0" y="474979"/>
                </a:lnTo>
                <a:lnTo>
                  <a:pt x="7467" y="511950"/>
                </a:lnTo>
                <a:lnTo>
                  <a:pt x="27828" y="542147"/>
                </a:lnTo>
                <a:lnTo>
                  <a:pt x="58025" y="562508"/>
                </a:lnTo>
                <a:lnTo>
                  <a:pt x="94996" y="569975"/>
                </a:lnTo>
                <a:lnTo>
                  <a:pt x="4132579" y="569975"/>
                </a:lnTo>
                <a:lnTo>
                  <a:pt x="4169550" y="562508"/>
                </a:lnTo>
                <a:lnTo>
                  <a:pt x="4199747" y="542147"/>
                </a:lnTo>
                <a:lnTo>
                  <a:pt x="4220108" y="511950"/>
                </a:lnTo>
                <a:lnTo>
                  <a:pt x="4227576" y="474979"/>
                </a:lnTo>
                <a:lnTo>
                  <a:pt x="4227576" y="94995"/>
                </a:lnTo>
                <a:lnTo>
                  <a:pt x="4220108" y="58025"/>
                </a:lnTo>
                <a:lnTo>
                  <a:pt x="4199747" y="27828"/>
                </a:lnTo>
                <a:lnTo>
                  <a:pt x="4169550" y="7467"/>
                </a:lnTo>
                <a:lnTo>
                  <a:pt x="4132579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901942" y="3134105"/>
            <a:ext cx="12255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90" dirty="0">
                <a:solidFill>
                  <a:srgbClr val="FFFFFF"/>
                </a:solidFill>
                <a:latin typeface="Trebuchet MS"/>
                <a:cs typeface="Trebuchet MS"/>
              </a:rPr>
              <a:t>Тревож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793992" y="4059935"/>
            <a:ext cx="4227830" cy="570230"/>
          </a:xfrm>
          <a:custGeom>
            <a:avLst/>
            <a:gdLst/>
            <a:ahLst/>
            <a:cxnLst/>
            <a:rect l="l" t="t" r="r" b="b"/>
            <a:pathLst>
              <a:path w="4227830" h="570229">
                <a:moveTo>
                  <a:pt x="4132579" y="0"/>
                </a:moveTo>
                <a:lnTo>
                  <a:pt x="94996" y="0"/>
                </a:lnTo>
                <a:lnTo>
                  <a:pt x="58025" y="7467"/>
                </a:lnTo>
                <a:lnTo>
                  <a:pt x="27828" y="27828"/>
                </a:lnTo>
                <a:lnTo>
                  <a:pt x="7467" y="58025"/>
                </a:lnTo>
                <a:lnTo>
                  <a:pt x="0" y="94995"/>
                </a:lnTo>
                <a:lnTo>
                  <a:pt x="0" y="474980"/>
                </a:lnTo>
                <a:lnTo>
                  <a:pt x="7467" y="511950"/>
                </a:lnTo>
                <a:lnTo>
                  <a:pt x="27828" y="542147"/>
                </a:lnTo>
                <a:lnTo>
                  <a:pt x="58025" y="562508"/>
                </a:lnTo>
                <a:lnTo>
                  <a:pt x="94996" y="569976"/>
                </a:lnTo>
                <a:lnTo>
                  <a:pt x="4132579" y="569976"/>
                </a:lnTo>
                <a:lnTo>
                  <a:pt x="4169550" y="562508"/>
                </a:lnTo>
                <a:lnTo>
                  <a:pt x="4199747" y="542147"/>
                </a:lnTo>
                <a:lnTo>
                  <a:pt x="4220108" y="511950"/>
                </a:lnTo>
                <a:lnTo>
                  <a:pt x="4227576" y="474980"/>
                </a:lnTo>
                <a:lnTo>
                  <a:pt x="4227576" y="94995"/>
                </a:lnTo>
                <a:lnTo>
                  <a:pt x="4220108" y="58025"/>
                </a:lnTo>
                <a:lnTo>
                  <a:pt x="4199747" y="27828"/>
                </a:lnTo>
                <a:lnTo>
                  <a:pt x="4169550" y="7467"/>
                </a:lnTo>
                <a:lnTo>
                  <a:pt x="4132579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901942" y="4118864"/>
            <a:ext cx="1385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50" dirty="0">
                <a:solidFill>
                  <a:srgbClr val="FFFFFF"/>
                </a:solidFill>
                <a:latin typeface="Trebuchet MS"/>
                <a:cs typeface="Trebuchet MS"/>
              </a:rPr>
              <a:t>Нелиней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793992" y="4884420"/>
            <a:ext cx="4227830" cy="568960"/>
          </a:xfrm>
          <a:custGeom>
            <a:avLst/>
            <a:gdLst/>
            <a:ahLst/>
            <a:cxnLst/>
            <a:rect l="l" t="t" r="r" b="b"/>
            <a:pathLst>
              <a:path w="4227830" h="568960">
                <a:moveTo>
                  <a:pt x="4132833" y="0"/>
                </a:moveTo>
                <a:lnTo>
                  <a:pt x="94741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1"/>
                </a:lnTo>
                <a:lnTo>
                  <a:pt x="0" y="473709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1" y="568451"/>
                </a:lnTo>
                <a:lnTo>
                  <a:pt x="4132833" y="568451"/>
                </a:lnTo>
                <a:lnTo>
                  <a:pt x="4169711" y="561006"/>
                </a:lnTo>
                <a:lnTo>
                  <a:pt x="4199826" y="540702"/>
                </a:lnTo>
                <a:lnTo>
                  <a:pt x="4220130" y="510587"/>
                </a:lnTo>
                <a:lnTo>
                  <a:pt x="4227576" y="473709"/>
                </a:lnTo>
                <a:lnTo>
                  <a:pt x="4227576" y="94741"/>
                </a:lnTo>
                <a:lnTo>
                  <a:pt x="4220130" y="57864"/>
                </a:lnTo>
                <a:lnTo>
                  <a:pt x="4199826" y="27749"/>
                </a:lnTo>
                <a:lnTo>
                  <a:pt x="4169711" y="7445"/>
                </a:lnTo>
                <a:lnTo>
                  <a:pt x="4132833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6901942" y="4942713"/>
            <a:ext cx="163830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75" dirty="0">
                <a:solidFill>
                  <a:srgbClr val="FFFFFF"/>
                </a:solidFill>
                <a:latin typeface="Trebuchet MS"/>
                <a:cs typeface="Trebuchet MS"/>
              </a:rPr>
              <a:t>Непостижим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5314188" y="2321051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14188" y="3390900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314188" y="4306823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314188" y="5087111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1296365" y="93703"/>
            <a:ext cx="9725457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Знаки новой реальности</a:t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</a:br>
            <a:endParaRPr spc="90" dirty="0">
              <a:solidFill>
                <a:srgbClr val="2E5496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6313DA5-DC31-E20E-6A86-5D848C1A67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23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796225F-0852-BD19-23A0-3EE1CF611E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1" y="0"/>
            <a:ext cx="9535886" cy="724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802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D0B0235-1166-E6C0-822F-51FAA6FEB4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713" y="122464"/>
            <a:ext cx="11729155" cy="659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91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1504709" y="-405113"/>
            <a:ext cx="10456381" cy="13542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4400" dirty="0">
              <a:solidFill>
                <a:prstClr val="black">
                  <a:lumMod val="85000"/>
                  <a:lumOff val="15000"/>
                </a:prstClr>
              </a:solidFill>
              <a:latin typeface="DINPro-Black" panose="02000503030000020004" pitchFamily="50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HR </a:t>
            </a:r>
            <a:r>
              <a:rPr lang="ru-RU" sz="4400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прогнозирование трудовых ресурсов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37" name="object 3">
            <a:extLst>
              <a:ext uri="{FF2B5EF4-FFF2-40B4-BE49-F238E27FC236}">
                <a16:creationId xmlns:a16="http://schemas.microsoft.com/office/drawing/2014/main" id="{23939DB5-AF9E-42CF-B823-C099D89084A3}"/>
              </a:ext>
            </a:extLst>
          </p:cNvPr>
          <p:cNvSpPr txBox="1"/>
          <p:nvPr/>
        </p:nvSpPr>
        <p:spPr>
          <a:xfrm>
            <a:off x="552596" y="1081981"/>
            <a:ext cx="11275701" cy="5274369"/>
          </a:xfrm>
          <a:prstGeom prst="rect">
            <a:avLst/>
          </a:prstGeom>
        </p:spPr>
        <p:txBody>
          <a:bodyPr>
            <a:normAutofit lnSpcReduction="10000"/>
          </a:bodyPr>
          <a:lstStyle>
            <a:defPPr>
              <a:defRPr lang="en-US"/>
            </a:defPPr>
            <a:lvl1pPr marL="285750" indent="-28575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DINPro-Regular" panose="02000503030000020004" pitchFamily="50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Proxima Nova Rg" panose="02000506030000020004" pitchFamily="50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Proxima Nova Rg" panose="02000506030000020004" pitchFamily="50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Proxima Nova Rg" panose="02000506030000020004" pitchFamily="50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нимание структуры рынка труда (удаленка, вброс на рынок квалифицированных кадров, новые компетенции,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LLL)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правление брэндом  работодателя, привлечение                              персонала через цифровые  сервисы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200" b="1" dirty="0">
                <a:solidFill>
                  <a:srgbClr val="002060"/>
                </a:solidFill>
              </a:rPr>
              <a:t>HR </a:t>
            </a:r>
            <a:r>
              <a:rPr lang="ru-RU" sz="3200" b="1" dirty="0">
                <a:solidFill>
                  <a:srgbClr val="002060"/>
                </a:solidFill>
              </a:rPr>
              <a:t>аналитика (в широком понимании   трендов рынка)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ru-RU" sz="3200" b="1" dirty="0">
              <a:solidFill>
                <a:srgbClr val="002060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400" b="1" i="1" u="sng" dirty="0">
                <a:solidFill>
                  <a:srgbClr val="002060"/>
                </a:solidFill>
              </a:rPr>
              <a:t>Компетенции:                                                                                                    </a:t>
            </a:r>
            <a:r>
              <a:rPr lang="ru-RU" sz="2400" b="1" i="1" dirty="0">
                <a:solidFill>
                  <a:srgbClr val="002060"/>
                </a:solidFill>
              </a:rPr>
              <a:t>аналитическое и дизайн мышление,                                                                    цифровая гибкость,                                                                                                           кросс-функциональные (маркетинг, финансы),                                           понимание бизнеса  </a:t>
            </a:r>
            <a:endParaRPr kumimoji="0" sz="24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5" name="Рисунок 4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C710BD9A-0453-CC78-627E-7B50282F4C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530" y="4049677"/>
            <a:ext cx="4308560" cy="2743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334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Override1.xml><?xml version="1.0" encoding="utf-8"?>
<a:themeOverride xmlns:a="http://schemas.openxmlformats.org/drawingml/2006/main">
  <a:clrScheme name="general">
    <a:dk1>
      <a:srgbClr val="C41A29"/>
    </a:dk1>
    <a:lt1>
      <a:srgbClr val="FFFFFF"/>
    </a:lt1>
    <a:dk2>
      <a:srgbClr val="000000"/>
    </a:dk2>
    <a:lt2>
      <a:srgbClr val="98A6B6"/>
    </a:lt2>
    <a:accent1>
      <a:srgbClr val="5E7285"/>
    </a:accent1>
    <a:accent2>
      <a:srgbClr val="7A8B9E"/>
    </a:accent2>
    <a:accent3>
      <a:srgbClr val="FFFFFF"/>
    </a:accent3>
    <a:accent4>
      <a:srgbClr val="C41A29"/>
    </a:accent4>
    <a:accent5>
      <a:srgbClr val="98A6B6"/>
    </a:accent5>
    <a:accent6>
      <a:srgbClr val="90102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general">
    <a:dk1>
      <a:srgbClr val="C41A29"/>
    </a:dk1>
    <a:lt1>
      <a:srgbClr val="FFFFFF"/>
    </a:lt1>
    <a:dk2>
      <a:srgbClr val="000000"/>
    </a:dk2>
    <a:lt2>
      <a:srgbClr val="98A6B6"/>
    </a:lt2>
    <a:accent1>
      <a:srgbClr val="5E7285"/>
    </a:accent1>
    <a:accent2>
      <a:srgbClr val="7A8B9E"/>
    </a:accent2>
    <a:accent3>
      <a:srgbClr val="FFFFFF"/>
    </a:accent3>
    <a:accent4>
      <a:srgbClr val="C41A29"/>
    </a:accent4>
    <a:accent5>
      <a:srgbClr val="98A6B6"/>
    </a:accent5>
    <a:accent6>
      <a:srgbClr val="90102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general">
    <a:dk1>
      <a:srgbClr val="C41A29"/>
    </a:dk1>
    <a:lt1>
      <a:srgbClr val="FFFFFF"/>
    </a:lt1>
    <a:dk2>
      <a:srgbClr val="000000"/>
    </a:dk2>
    <a:lt2>
      <a:srgbClr val="98A6B6"/>
    </a:lt2>
    <a:accent1>
      <a:srgbClr val="5E7285"/>
    </a:accent1>
    <a:accent2>
      <a:srgbClr val="7A8B9E"/>
    </a:accent2>
    <a:accent3>
      <a:srgbClr val="FFFFFF"/>
    </a:accent3>
    <a:accent4>
      <a:srgbClr val="C41A29"/>
    </a:accent4>
    <a:accent5>
      <a:srgbClr val="98A6B6"/>
    </a:accent5>
    <a:accent6>
      <a:srgbClr val="90102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8</TotalTime>
  <Words>793</Words>
  <Application>Microsoft Office PowerPoint</Application>
  <PresentationFormat>Широкоэкранный</PresentationFormat>
  <Paragraphs>169</Paragraphs>
  <Slides>1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1" baseType="lpstr">
      <vt:lpstr>Arial</vt:lpstr>
      <vt:lpstr>Arial Black</vt:lpstr>
      <vt:lpstr>Calibri</vt:lpstr>
      <vt:lpstr>DINPro-Black</vt:lpstr>
      <vt:lpstr>DINPro-Regular</vt:lpstr>
      <vt:lpstr>Monaco</vt:lpstr>
      <vt:lpstr>Proxima Nova Rg</vt:lpstr>
      <vt:lpstr>Raleway</vt:lpstr>
      <vt:lpstr>Raleway Medium</vt:lpstr>
      <vt:lpstr>STIXGeneral-Regular</vt:lpstr>
      <vt:lpstr>Trebuchet MS</vt:lpstr>
      <vt:lpstr>Verdana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Знаки новой реальност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лияние COVID 19 на корпоративное обучение Наиболее востребованные  компетенции и программы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la Vuchkovich</dc:creator>
  <cp:lastModifiedBy>Горнякова Мария Валерьевна</cp:lastModifiedBy>
  <cp:revision>11</cp:revision>
  <cp:lastPrinted>2022-06-01T08:08:13Z</cp:lastPrinted>
  <dcterms:created xsi:type="dcterms:W3CDTF">2021-10-04T15:52:32Z</dcterms:created>
  <dcterms:modified xsi:type="dcterms:W3CDTF">2022-06-01T09:58:53Z</dcterms:modified>
</cp:coreProperties>
</file>